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9" r:id="rId1"/>
  </p:sldMasterIdLst>
  <p:notesMasterIdLst>
    <p:notesMasterId r:id="rId7"/>
  </p:notesMasterIdLst>
  <p:handoutMasterIdLst>
    <p:handoutMasterId r:id="rId8"/>
  </p:handoutMasterIdLst>
  <p:sldIdLst>
    <p:sldId id="270" r:id="rId2"/>
    <p:sldId id="293" r:id="rId3"/>
    <p:sldId id="296" r:id="rId4"/>
    <p:sldId id="318" r:id="rId5"/>
    <p:sldId id="319" r:id="rId6"/>
  </p:sldIdLst>
  <p:sldSz cx="12192000" cy="6858000"/>
  <p:notesSz cx="6797675" cy="9926638"/>
  <p:custDataLst>
    <p:tags r:id="rId9"/>
  </p:custDataLst>
  <p:defaultTextStyle>
    <a:defPPr>
      <a:defRPr lang="en-US"/>
    </a:defPPr>
    <a:lvl1pPr marL="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609493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009682"/>
    <a:srgbClr val="A6A6A6"/>
    <a:srgbClr val="404040"/>
    <a:srgbClr val="D9D9D9"/>
    <a:srgbClr val="000000"/>
    <a:srgbClr val="21262E"/>
    <a:srgbClr val="F2FAF9"/>
    <a:srgbClr val="009987"/>
    <a:srgbClr val="35A1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86433" autoAdjust="0"/>
  </p:normalViewPr>
  <p:slideViewPr>
    <p:cSldViewPr snapToGrid="0">
      <p:cViewPr varScale="1">
        <p:scale>
          <a:sx n="111" d="100"/>
          <a:sy n="111" d="100"/>
        </p:scale>
        <p:origin x="78" y="17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400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xmlns="" id="{BEAFB5AB-FD09-4854-91E7-0E302DF029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CB1B40B1-B6ED-4D11-92C6-0FDA76CB91E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r">
              <a:defRPr sz="1300"/>
            </a:lvl1pPr>
          </a:lstStyle>
          <a:p>
            <a:fld id="{4F39D849-9D66-45A9-94B1-6D30D8C67AD7}" type="datetimeFigureOut">
              <a:rPr lang="de-DE" smtClean="0"/>
              <a:t>21.03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6C39BE3B-DA7B-4505-88F6-25CDDEA8AE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5"/>
            <a:ext cx="2945659" cy="498055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6064512C-4002-4B42-B0FE-DB6BA1DEA7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5"/>
            <a:ext cx="2945659" cy="498055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r">
              <a:defRPr sz="1300"/>
            </a:lvl1pPr>
          </a:lstStyle>
          <a:p>
            <a:fld id="{54160380-1E1F-4C60-B86E-DA6140693FF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49970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5558" tIns="47779" rIns="95558" bIns="47779" rtlCol="0"/>
          <a:lstStyle>
            <a:lvl1pPr algn="r">
              <a:defRPr sz="1300"/>
            </a:lvl1pPr>
          </a:lstStyle>
          <a:p>
            <a:fld id="{FA8F02CA-77CB-4E54-B712-21E588799EE8}" type="datetimeFigureOut">
              <a:rPr lang="de-DE" smtClean="0"/>
              <a:t>21.03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58" tIns="47779" rIns="95558" bIns="47779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5558" tIns="47779" rIns="95558" bIns="47779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8055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8055"/>
          </a:xfrm>
          <a:prstGeom prst="rect">
            <a:avLst/>
          </a:prstGeom>
        </p:spPr>
        <p:txBody>
          <a:bodyPr vert="horz" lIns="95558" tIns="47779" rIns="95558" bIns="47779" rtlCol="0" anchor="b"/>
          <a:lstStyle>
            <a:lvl1pPr algn="r">
              <a:defRPr sz="1300"/>
            </a:lvl1pPr>
          </a:lstStyle>
          <a:p>
            <a:fld id="{E13F729A-0AF0-4995-B32B-9504BC68960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0794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6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20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2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2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3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2196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3F729A-0AF0-4995-B32B-9504BC68960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535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_Titelfolie_ohn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4"/>
          <p:cNvSpPr>
            <a:spLocks noGrp="1"/>
          </p:cNvSpPr>
          <p:nvPr>
            <p:ph type="pic" sz="quarter" idx="10" hasCustomPrompt="1"/>
          </p:nvPr>
        </p:nvSpPr>
        <p:spPr>
          <a:xfrm>
            <a:off x="515938" y="3386374"/>
            <a:ext cx="11160125" cy="2707437"/>
          </a:xfrm>
          <a:prstGeom prst="round2DiagRect">
            <a:avLst>
              <a:gd name="adj1" fmla="val 0"/>
              <a:gd name="adj2" fmla="val 8317"/>
            </a:avLst>
          </a:prstGeom>
          <a:solidFill>
            <a:srgbClr val="FF99FF"/>
          </a:solidFill>
          <a:ln w="12700">
            <a:solidFill>
              <a:schemeClr val="bg2"/>
            </a:solidFill>
          </a:ln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aseline="0"/>
            </a:lvl1pPr>
          </a:lstStyle>
          <a:p>
            <a:r>
              <a:rPr lang="de-DE" dirty="0"/>
              <a:t>Add a </a:t>
            </a:r>
            <a:r>
              <a:rPr lang="de-DE" dirty="0" err="1"/>
              <a:t>picture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.</a:t>
            </a:r>
          </a:p>
        </p:txBody>
      </p:sp>
      <p:sp>
        <p:nvSpPr>
          <p:cNvPr id="20" name="Text Box 14">
            <a:extLst>
              <a:ext uri="{FF2B5EF4-FFF2-40B4-BE49-F238E27FC236}">
                <a16:creationId xmlns:a16="http://schemas.microsoft.com/office/drawing/2014/main" xmlns="" id="{A99E9F06-8652-4CB2-92C1-FBF57069FEE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70815" y="6525686"/>
            <a:ext cx="230293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09402" eaLnBrk="1" hangingPunct="1">
              <a:defRPr/>
            </a:pPr>
            <a:r>
              <a:rPr lang="de-DE" altLang="de-DE" sz="1100" b="0" dirty="0">
                <a:solidFill>
                  <a:prstClr val="black"/>
                </a:solidFill>
              </a:rPr>
              <a:t>www.kit.edu</a:t>
            </a:r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xmlns="" id="{9D4B5E5C-C37E-4694-BF78-1C5C31B491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927266"/>
            <a:ext cx="11160125" cy="3800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3400" b="1"/>
            </a:lvl1pPr>
            <a:lvl2pPr marL="473979" indent="0">
              <a:buFont typeface="Arial" panose="020B0604020202020204" pitchFamily="34" charset="0"/>
              <a:buNone/>
              <a:defRPr sz="3466" b="1"/>
            </a:lvl2pPr>
            <a:lvl3pPr marL="956422" indent="0">
              <a:buFont typeface="Arial" panose="020B0604020202020204" pitchFamily="34" charset="0"/>
              <a:buNone/>
              <a:defRPr sz="3466" b="1"/>
            </a:lvl3pPr>
            <a:lvl4pPr marL="1430402" indent="0">
              <a:buFont typeface="Arial" panose="020B0604020202020204" pitchFamily="34" charset="0"/>
              <a:buNone/>
              <a:defRPr sz="3466" b="1"/>
            </a:lvl4pPr>
            <a:lvl5pPr marL="1912845" indent="0">
              <a:buFont typeface="Arial" panose="020B0604020202020204" pitchFamily="34" charset="0"/>
              <a:buNone/>
              <a:defRPr sz="3466" b="1"/>
            </a:lvl5pPr>
          </a:lstStyle>
          <a:p>
            <a:pPr lvl="0"/>
            <a:r>
              <a:rPr lang="en-US" noProof="0" dirty="0"/>
              <a:t>Title: Arial 34pt bold</a:t>
            </a:r>
          </a:p>
        </p:txBody>
      </p:sp>
      <p:sp>
        <p:nvSpPr>
          <p:cNvPr id="21" name="Textplatzhalter 25">
            <a:extLst>
              <a:ext uri="{FF2B5EF4-FFF2-40B4-BE49-F238E27FC236}">
                <a16:creationId xmlns:a16="http://schemas.microsoft.com/office/drawing/2014/main" xmlns="" id="{DD125D08-BF79-431D-80A7-B7800A37F5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620603"/>
            <a:ext cx="11160125" cy="6796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399" b="1" i="0" baseline="0"/>
            </a:lvl1pPr>
            <a:lvl2pPr marL="473979" indent="0">
              <a:buFont typeface="Arial" panose="020B0604020202020204" pitchFamily="34" charset="0"/>
              <a:buNone/>
              <a:defRPr sz="2399" b="1" i="0"/>
            </a:lvl2pPr>
            <a:lvl3pPr marL="956422" indent="0">
              <a:buFont typeface="Arial" panose="020B0604020202020204" pitchFamily="34" charset="0"/>
              <a:buNone/>
              <a:defRPr sz="2399" b="1" i="0"/>
            </a:lvl3pPr>
            <a:lvl4pPr marL="1430402" indent="0">
              <a:buFont typeface="Arial" panose="020B0604020202020204" pitchFamily="34" charset="0"/>
              <a:buNone/>
              <a:defRPr sz="2399" b="1" i="0"/>
            </a:lvl4pPr>
            <a:lvl5pPr marL="1912845" indent="0">
              <a:buFont typeface="Arial" panose="020B0604020202020204" pitchFamily="34" charset="0"/>
              <a:buNone/>
              <a:defRPr sz="2399" b="1" i="0"/>
            </a:lvl5pPr>
          </a:lstStyle>
          <a:p>
            <a:pPr lvl="0"/>
            <a:r>
              <a:rPr lang="en-US" noProof="0" dirty="0"/>
              <a:t>Subtitle: Arial 24pt bold</a:t>
            </a:r>
            <a:br>
              <a:rPr lang="en-US" noProof="0" dirty="0"/>
            </a:br>
            <a:r>
              <a:rPr lang="en-US" noProof="0" dirty="0"/>
              <a:t>(two lines possible)</a:t>
            </a:r>
          </a:p>
        </p:txBody>
      </p:sp>
      <p:pic>
        <p:nvPicPr>
          <p:cNvPr id="22" name="KIT Logo">
            <a:extLst>
              <a:ext uri="{FF2B5EF4-FFF2-40B4-BE49-F238E27FC236}">
                <a16:creationId xmlns:a16="http://schemas.microsoft.com/office/drawing/2014/main" xmlns="" id="{A1BF5D3C-985E-4B2F-BA39-5522C55AFE15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7340" y="518183"/>
            <a:ext cx="1690986" cy="778209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xmlns="" id="{8DA69450-1749-4DA9-8D68-7FA8C78EAFA6}"/>
              </a:ext>
            </a:extLst>
          </p:cNvPr>
          <p:cNvGrpSpPr/>
          <p:nvPr userDrawn="1"/>
        </p:nvGrpSpPr>
        <p:grpSpPr>
          <a:xfrm>
            <a:off x="9674807" y="479130"/>
            <a:ext cx="1998941" cy="825414"/>
            <a:chOff x="9340570" y="470164"/>
            <a:chExt cx="2508367" cy="1035769"/>
          </a:xfrm>
        </p:grpSpPr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xmlns="" id="{3CA37CA4-AEBC-4923-9039-FA2AFDCCEA4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340570" y="470164"/>
              <a:ext cx="2344458" cy="1035769"/>
            </a:xfrm>
            <a:prstGeom prst="rect">
              <a:avLst/>
            </a:prstGeom>
          </p:spPr>
        </p:pic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xmlns="" id="{EEB8653F-8AF4-4EB4-8001-D08223F696F8}"/>
                </a:ext>
              </a:extLst>
            </p:cNvPr>
            <p:cNvSpPr txBox="1"/>
            <p:nvPr userDrawn="1"/>
          </p:nvSpPr>
          <p:spPr>
            <a:xfrm>
              <a:off x="9706416" y="1321908"/>
              <a:ext cx="2142521" cy="173795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 anchor="ctr">
              <a:spAutoFit/>
            </a:bodyPr>
            <a:lstStyle>
              <a:defPPr>
                <a:defRPr lang="en-US"/>
              </a:defPPr>
              <a:lvl1pPr lvl="0">
                <a:defRPr sz="1050" b="0" spc="40" baseline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pPr lvl="0"/>
              <a:r>
                <a:rPr lang="en-US" sz="900" spc="20" baseline="0" noProof="0" dirty="0">
                  <a:solidFill>
                    <a:srgbClr val="000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stitute of Production Science</a:t>
              </a:r>
            </a:p>
          </p:txBody>
        </p:sp>
      </p:grpSp>
      <p:sp>
        <p:nvSpPr>
          <p:cNvPr id="26" name="Text Box 14">
            <a:extLst>
              <a:ext uri="{FF2B5EF4-FFF2-40B4-BE49-F238E27FC236}">
                <a16:creationId xmlns:a16="http://schemas.microsoft.com/office/drawing/2014/main" xmlns="" id="{449C3240-F498-4F37-8DBF-9DA2A725A49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8252" y="6525687"/>
            <a:ext cx="4808893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609402"/>
            <a:r>
              <a:rPr lang="en-US" sz="1100" noProof="0" dirty="0">
                <a:solidFill>
                  <a:prstClr val="black"/>
                </a:solidFill>
              </a:rPr>
              <a:t>KIT – The Research University in the Helmholtz Association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0" y="336430"/>
            <a:ext cx="7345142" cy="1104181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8" y="578701"/>
            <a:ext cx="6518085" cy="591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524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326E4DF3-A95C-401D-ABC3-D59EF1B65C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5937" y="1268413"/>
            <a:ext cx="11160125" cy="48244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de-DE" noProof="0" dirty="0"/>
              <a:t>Click to add text</a:t>
            </a:r>
          </a:p>
          <a:p>
            <a:pPr lvl="1"/>
            <a:r>
              <a:rPr lang="en-US" altLang="de-DE" noProof="0" dirty="0"/>
              <a:t>Second level</a:t>
            </a:r>
          </a:p>
          <a:p>
            <a:pPr lvl="2"/>
            <a:r>
              <a:rPr lang="en-US" altLang="de-DE" noProof="0" dirty="0"/>
              <a:t>Third level </a:t>
            </a:r>
          </a:p>
          <a:p>
            <a:pPr lvl="3"/>
            <a:r>
              <a:rPr lang="en-US" altLang="de-DE" noProof="0" dirty="0"/>
              <a:t>Fourth level</a:t>
            </a:r>
          </a:p>
          <a:p>
            <a:pPr lvl="4"/>
            <a:r>
              <a:rPr lang="en-US" altLang="de-DE" noProof="0" dirty="0"/>
              <a:t>Fifth level</a:t>
            </a:r>
          </a:p>
        </p:txBody>
      </p:sp>
      <p:sp>
        <p:nvSpPr>
          <p:cNvPr id="8" name="Textplatzhalter 15">
            <a:extLst>
              <a:ext uri="{FF2B5EF4-FFF2-40B4-BE49-F238E27FC236}">
                <a16:creationId xmlns:a16="http://schemas.microsoft.com/office/drawing/2014/main" xmlns="" id="{400F331A-4608-439C-A12B-1C4DD69EE0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754217"/>
            <a:ext cx="9170966" cy="316776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marL="0" indent="0">
              <a:lnSpc>
                <a:spcPct val="80000"/>
              </a:lnSpc>
              <a:spcBef>
                <a:spcPts val="2400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xmlns="" id="{B1631C42-FD20-4111-9369-02D8E3094A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58319"/>
            <a:ext cx="9170966" cy="38349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xmlns="" id="{8966E19E-FC2C-4C99-B3FF-1AFFE38843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59674" y="6092825"/>
            <a:ext cx="4916389" cy="236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r">
              <a:buFont typeface="Arial" panose="020B0604020202020204" pitchFamily="34" charset="0"/>
              <a:buNone/>
              <a:defRPr lang="de-DE" sz="1200" smtClean="0">
                <a:solidFill>
                  <a:schemeClr val="bg1">
                    <a:lumMod val="50000"/>
                  </a:schemeClr>
                </a:solidFill>
              </a:defRPr>
            </a:lvl1pPr>
            <a:lvl2pPr marL="228526" indent="0">
              <a:buFont typeface="Arial" panose="020B0604020202020204" pitchFamily="34" charset="0"/>
              <a:buNone/>
              <a:defRPr lang="de-DE" sz="2399" smtClean="0">
                <a:solidFill>
                  <a:schemeClr val="lt1"/>
                </a:solidFill>
              </a:defRPr>
            </a:lvl2pPr>
            <a:lvl3pPr marL="837928" indent="0">
              <a:buFont typeface="Arial" panose="020B0604020202020204" pitchFamily="34" charset="0"/>
              <a:buNone/>
              <a:defRPr lang="de-DE" sz="2399" smtClean="0">
                <a:solidFill>
                  <a:schemeClr val="lt1"/>
                </a:solidFill>
              </a:defRPr>
            </a:lvl3pPr>
            <a:lvl4pPr marL="1447329" indent="0">
              <a:buFont typeface="Arial" panose="020B0604020202020204" pitchFamily="34" charset="0"/>
              <a:buNone/>
              <a:defRPr lang="de-DE" sz="2399" smtClean="0">
                <a:solidFill>
                  <a:schemeClr val="lt1"/>
                </a:solidFill>
              </a:defRPr>
            </a:lvl4pPr>
            <a:lvl5pPr marL="2056731" indent="0">
              <a:buFont typeface="Arial" panose="020B0604020202020204" pitchFamily="34" charset="0"/>
              <a:buNone/>
              <a:defRPr lang="de-DE" sz="2399">
                <a:solidFill>
                  <a:schemeClr val="lt1"/>
                </a:solidFill>
              </a:defRPr>
            </a:lvl5pPr>
          </a:lstStyle>
          <a:p>
            <a:pPr marL="0" lvl="0" algn="r"/>
            <a:r>
              <a:rPr lang="en-US" noProof="0" dirty="0"/>
              <a:t>Source:</a:t>
            </a:r>
          </a:p>
        </p:txBody>
      </p:sp>
      <p:sp>
        <p:nvSpPr>
          <p:cNvPr id="7" name="Datumsplatzhalter 5"/>
          <p:cNvSpPr>
            <a:spLocks noGrp="1"/>
          </p:cNvSpPr>
          <p:nvPr>
            <p:ph type="dt" sz="half" idx="2"/>
          </p:nvPr>
        </p:nvSpPr>
        <p:spPr>
          <a:xfrm>
            <a:off x="964224" y="6319881"/>
            <a:ext cx="2617176" cy="5381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24.04.2024</a:t>
            </a:r>
            <a:endParaRPr lang="de-DE" dirty="0"/>
          </a:p>
        </p:txBody>
      </p:sp>
      <p:sp>
        <p:nvSpPr>
          <p:cNvPr id="11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515938" y="6329812"/>
            <a:ext cx="448286" cy="528188"/>
          </a:xfrm>
          <a:prstGeom prst="rect">
            <a:avLst/>
          </a:prstGeom>
        </p:spPr>
        <p:txBody>
          <a:bodyPr vert="horz" lIns="36000" tIns="45720" rIns="3600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E79F7477-48E1-4941-8087-E18B8D2FE95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6935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zwei_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5937" y="1268413"/>
            <a:ext cx="5521070" cy="48244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de-DE" noProof="0" dirty="0"/>
              <a:t>Click to add text</a:t>
            </a:r>
          </a:p>
          <a:p>
            <a:pPr lvl="1"/>
            <a:r>
              <a:rPr lang="en-US" altLang="de-DE" noProof="0" dirty="0"/>
              <a:t>Second level</a:t>
            </a:r>
          </a:p>
          <a:p>
            <a:pPr lvl="2"/>
            <a:r>
              <a:rPr lang="en-US" altLang="de-DE" noProof="0" dirty="0"/>
              <a:t>Third level </a:t>
            </a:r>
          </a:p>
          <a:p>
            <a:pPr lvl="3"/>
            <a:r>
              <a:rPr lang="en-US" altLang="de-DE" noProof="0" dirty="0"/>
              <a:t>Fourth level</a:t>
            </a:r>
          </a:p>
          <a:p>
            <a:pPr lvl="4"/>
            <a:r>
              <a:rPr lang="en-US" altLang="de-DE" noProof="0" dirty="0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48FE0D33-BEE8-4EDE-9154-65AE1ADD447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154994" y="1268414"/>
            <a:ext cx="5521072" cy="48244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de-DE" noProof="0" dirty="0"/>
              <a:t>Click to add text</a:t>
            </a:r>
          </a:p>
          <a:p>
            <a:pPr lvl="1"/>
            <a:r>
              <a:rPr lang="en-US" altLang="de-DE" noProof="0" dirty="0"/>
              <a:t>Second level</a:t>
            </a:r>
          </a:p>
          <a:p>
            <a:pPr lvl="2"/>
            <a:r>
              <a:rPr lang="en-US" altLang="de-DE" noProof="0" dirty="0"/>
              <a:t>Third level </a:t>
            </a:r>
          </a:p>
          <a:p>
            <a:pPr lvl="3"/>
            <a:r>
              <a:rPr lang="en-US" altLang="de-DE" noProof="0" dirty="0"/>
              <a:t>Fourth level</a:t>
            </a:r>
          </a:p>
          <a:p>
            <a:pPr lvl="4"/>
            <a:r>
              <a:rPr lang="en-US" altLang="de-DE" noProof="0" dirty="0"/>
              <a:t>Fifth level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xmlns="" id="{7CFE493A-702A-473A-8756-047E7DE2CDE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59674" y="6092825"/>
            <a:ext cx="4916389" cy="236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r">
              <a:buFont typeface="Arial" panose="020B0604020202020204" pitchFamily="34" charset="0"/>
              <a:buNone/>
              <a:defRPr lang="de-DE" sz="1200" smtClean="0">
                <a:solidFill>
                  <a:schemeClr val="bg1">
                    <a:lumMod val="50000"/>
                  </a:schemeClr>
                </a:solidFill>
              </a:defRPr>
            </a:lvl1pPr>
            <a:lvl2pPr marL="228526" indent="0">
              <a:buFont typeface="Arial" panose="020B0604020202020204" pitchFamily="34" charset="0"/>
              <a:buNone/>
              <a:defRPr lang="de-DE" sz="2399" smtClean="0">
                <a:solidFill>
                  <a:schemeClr val="lt1"/>
                </a:solidFill>
              </a:defRPr>
            </a:lvl2pPr>
            <a:lvl3pPr marL="837928" indent="0">
              <a:buFont typeface="Arial" panose="020B0604020202020204" pitchFamily="34" charset="0"/>
              <a:buNone/>
              <a:defRPr lang="de-DE" sz="2399" smtClean="0">
                <a:solidFill>
                  <a:schemeClr val="lt1"/>
                </a:solidFill>
              </a:defRPr>
            </a:lvl3pPr>
            <a:lvl4pPr marL="1447329" indent="0">
              <a:buFont typeface="Arial" panose="020B0604020202020204" pitchFamily="34" charset="0"/>
              <a:buNone/>
              <a:defRPr lang="de-DE" sz="2399" smtClean="0">
                <a:solidFill>
                  <a:schemeClr val="lt1"/>
                </a:solidFill>
              </a:defRPr>
            </a:lvl4pPr>
            <a:lvl5pPr marL="2056731" indent="0">
              <a:buFont typeface="Arial" panose="020B0604020202020204" pitchFamily="34" charset="0"/>
              <a:buNone/>
              <a:defRPr lang="de-DE" sz="2399">
                <a:solidFill>
                  <a:schemeClr val="lt1"/>
                </a:solidFill>
              </a:defRPr>
            </a:lvl5pPr>
          </a:lstStyle>
          <a:p>
            <a:pPr marL="0" lvl="0" algn="r"/>
            <a:r>
              <a:rPr lang="de-DE" noProof="0" dirty="0"/>
              <a:t>Source:</a:t>
            </a:r>
          </a:p>
        </p:txBody>
      </p:sp>
      <p:sp>
        <p:nvSpPr>
          <p:cNvPr id="8" name="Textplatzhalter 15">
            <a:extLst>
              <a:ext uri="{FF2B5EF4-FFF2-40B4-BE49-F238E27FC236}">
                <a16:creationId xmlns:a16="http://schemas.microsoft.com/office/drawing/2014/main" xmlns="" id="{FC185BFB-52CB-4BEA-AA2E-EE8C84275E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754217"/>
            <a:ext cx="9170966" cy="316776"/>
          </a:xfrm>
        </p:spPr>
        <p:txBody>
          <a:bodyPr lIns="0" tIns="0" anchor="b" anchorCtr="0">
            <a:noAutofit/>
          </a:bodyPr>
          <a:lstStyle>
            <a:lvl1pPr marL="0" indent="0">
              <a:lnSpc>
                <a:spcPct val="80000"/>
              </a:lnSpc>
              <a:spcBef>
                <a:spcPts val="2400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el 6">
            <a:extLst>
              <a:ext uri="{FF2B5EF4-FFF2-40B4-BE49-F238E27FC236}">
                <a16:creationId xmlns:a16="http://schemas.microsoft.com/office/drawing/2014/main" xmlns="" id="{BD1C1F63-6089-4F1F-A299-6B41370797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58319"/>
            <a:ext cx="9170966" cy="38349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Datumsplatzhalter 5"/>
          <p:cNvSpPr>
            <a:spLocks noGrp="1"/>
          </p:cNvSpPr>
          <p:nvPr>
            <p:ph type="dt" sz="half" idx="2"/>
          </p:nvPr>
        </p:nvSpPr>
        <p:spPr>
          <a:xfrm>
            <a:off x="964224" y="6319881"/>
            <a:ext cx="2617176" cy="5381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24.04.2024</a:t>
            </a:r>
            <a:endParaRPr lang="de-DE" dirty="0"/>
          </a:p>
        </p:txBody>
      </p:sp>
      <p:sp>
        <p:nvSpPr>
          <p:cNvPr id="12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515938" y="6329812"/>
            <a:ext cx="448286" cy="528188"/>
          </a:xfrm>
          <a:prstGeom prst="rect">
            <a:avLst/>
          </a:prstGeom>
        </p:spPr>
        <p:txBody>
          <a:bodyPr vert="horz" lIns="36000" tIns="45720" rIns="3600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E79F7477-48E1-4941-8087-E18B8D2FE95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9122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Inhalt_und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5937" y="1268413"/>
            <a:ext cx="5521070" cy="482441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de-DE" noProof="0" dirty="0"/>
              <a:t>Click to add text</a:t>
            </a:r>
          </a:p>
          <a:p>
            <a:pPr lvl="1"/>
            <a:r>
              <a:rPr lang="en-US" altLang="de-DE" noProof="0" dirty="0"/>
              <a:t>Second level</a:t>
            </a:r>
          </a:p>
          <a:p>
            <a:pPr lvl="2"/>
            <a:r>
              <a:rPr lang="en-US" altLang="de-DE" noProof="0" dirty="0"/>
              <a:t>Third level </a:t>
            </a:r>
          </a:p>
          <a:p>
            <a:pPr lvl="3"/>
            <a:r>
              <a:rPr lang="en-US" altLang="de-DE" noProof="0" dirty="0"/>
              <a:t>Fourth level</a:t>
            </a:r>
          </a:p>
          <a:p>
            <a:pPr lvl="4"/>
            <a:r>
              <a:rPr lang="en-US" altLang="de-DE" noProof="0" dirty="0"/>
              <a:t>Fifth level</a:t>
            </a:r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xmlns="" id="{89308B95-D9BD-4ABC-AF4C-A78159130E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54994" y="1268413"/>
            <a:ext cx="5521069" cy="4824411"/>
          </a:xfrm>
          <a:prstGeom prst="round2DiagRect">
            <a:avLst>
              <a:gd name="adj1" fmla="val 0"/>
              <a:gd name="adj2" fmla="val 8317"/>
            </a:avLst>
          </a:prstGeom>
          <a:solidFill>
            <a:srgbClr val="FF99FF"/>
          </a:solidFill>
          <a:ln w="12700">
            <a:solidFill>
              <a:schemeClr val="bg2"/>
            </a:solidFill>
          </a:ln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r>
              <a:rPr lang="de-DE" dirty="0"/>
              <a:t>.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xmlns="" id="{C65AF490-CB1A-41B9-9ADB-2632350BC0E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59674" y="6092825"/>
            <a:ext cx="4916389" cy="2369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r">
              <a:buFont typeface="Arial" panose="020B0604020202020204" pitchFamily="34" charset="0"/>
              <a:buNone/>
              <a:defRPr lang="de-DE" sz="1200" smtClean="0">
                <a:solidFill>
                  <a:schemeClr val="bg1">
                    <a:lumMod val="50000"/>
                  </a:schemeClr>
                </a:solidFill>
              </a:defRPr>
            </a:lvl1pPr>
            <a:lvl2pPr marL="228526" indent="0">
              <a:buFont typeface="Arial" panose="020B0604020202020204" pitchFamily="34" charset="0"/>
              <a:buNone/>
              <a:defRPr lang="de-DE" sz="2399" smtClean="0">
                <a:solidFill>
                  <a:schemeClr val="lt1"/>
                </a:solidFill>
              </a:defRPr>
            </a:lvl2pPr>
            <a:lvl3pPr marL="837928" indent="0">
              <a:buFont typeface="Arial" panose="020B0604020202020204" pitchFamily="34" charset="0"/>
              <a:buNone/>
              <a:defRPr lang="de-DE" sz="2399" smtClean="0">
                <a:solidFill>
                  <a:schemeClr val="lt1"/>
                </a:solidFill>
              </a:defRPr>
            </a:lvl3pPr>
            <a:lvl4pPr marL="1447329" indent="0">
              <a:buFont typeface="Arial" panose="020B0604020202020204" pitchFamily="34" charset="0"/>
              <a:buNone/>
              <a:defRPr lang="de-DE" sz="2399" smtClean="0">
                <a:solidFill>
                  <a:schemeClr val="lt1"/>
                </a:solidFill>
              </a:defRPr>
            </a:lvl4pPr>
            <a:lvl5pPr marL="2056731" indent="0">
              <a:buFont typeface="Arial" panose="020B0604020202020204" pitchFamily="34" charset="0"/>
              <a:buNone/>
              <a:defRPr lang="de-DE" sz="2399">
                <a:solidFill>
                  <a:schemeClr val="lt1"/>
                </a:solidFill>
              </a:defRPr>
            </a:lvl5pPr>
          </a:lstStyle>
          <a:p>
            <a:pPr marL="0" lvl="0" algn="r"/>
            <a:r>
              <a:rPr lang="de-DE" noProof="0" dirty="0"/>
              <a:t>Source:</a:t>
            </a:r>
          </a:p>
        </p:txBody>
      </p:sp>
      <p:sp>
        <p:nvSpPr>
          <p:cNvPr id="10" name="Textplatzhalter 15">
            <a:extLst>
              <a:ext uri="{FF2B5EF4-FFF2-40B4-BE49-F238E27FC236}">
                <a16:creationId xmlns:a16="http://schemas.microsoft.com/office/drawing/2014/main" xmlns="" id="{B28D5C18-1840-4015-93CB-4BC9DC308C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754217"/>
            <a:ext cx="9170966" cy="316776"/>
          </a:xfrm>
        </p:spPr>
        <p:txBody>
          <a:bodyPr lIns="0" tIns="0" anchor="b" anchorCtr="0">
            <a:noAutofit/>
          </a:bodyPr>
          <a:lstStyle>
            <a:lvl1pPr marL="0" indent="0">
              <a:lnSpc>
                <a:spcPct val="80000"/>
              </a:lnSpc>
              <a:spcBef>
                <a:spcPts val="2400"/>
              </a:spcBef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el 6">
            <a:extLst>
              <a:ext uri="{FF2B5EF4-FFF2-40B4-BE49-F238E27FC236}">
                <a16:creationId xmlns:a16="http://schemas.microsoft.com/office/drawing/2014/main" xmlns="" id="{9E5A4C60-626B-4DFF-A2AE-2EAFC68D33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358319"/>
            <a:ext cx="9170966" cy="38349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Datumsplatzhalter 5"/>
          <p:cNvSpPr>
            <a:spLocks noGrp="1"/>
          </p:cNvSpPr>
          <p:nvPr>
            <p:ph type="dt" sz="half" idx="2"/>
          </p:nvPr>
        </p:nvSpPr>
        <p:spPr>
          <a:xfrm>
            <a:off x="964224" y="6319881"/>
            <a:ext cx="2617176" cy="5381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24.04.2024</a:t>
            </a:r>
            <a:endParaRPr lang="de-DE" dirty="0"/>
          </a:p>
        </p:txBody>
      </p:sp>
      <p:sp>
        <p:nvSpPr>
          <p:cNvPr id="11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515938" y="6329812"/>
            <a:ext cx="448286" cy="528188"/>
          </a:xfrm>
          <a:prstGeom prst="rect">
            <a:avLst/>
          </a:prstGeom>
        </p:spPr>
        <p:txBody>
          <a:bodyPr vert="horz" lIns="36000" tIns="45720" rIns="3600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E79F7477-48E1-4941-8087-E18B8D2FE95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8637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_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384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20"/>
          <p:cNvPicPr>
            <a:picLocks noChangeAspect="1"/>
          </p:cNvPicPr>
          <p:nvPr userDrawn="1"/>
        </p:nvPicPr>
        <p:blipFill rotWithShape="1">
          <a:blip r:embed="rId6"/>
          <a:srcRect t="28201" b="35862"/>
          <a:stretch/>
        </p:blipFill>
        <p:spPr>
          <a:xfrm>
            <a:off x="-8625" y="1232849"/>
            <a:ext cx="12209250" cy="2901696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xmlns="" id="{0397607F-F698-4EA1-98DA-BCA1BEE01EB4}"/>
              </a:ext>
            </a:extLst>
          </p:cNvPr>
          <p:cNvSpPr/>
          <p:nvPr userDrawn="1"/>
        </p:nvSpPr>
        <p:spPr>
          <a:xfrm>
            <a:off x="0" y="5106047"/>
            <a:ext cx="12192000" cy="12233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xmlns="" id="{2883CE16-61C1-4C20-AF56-B5EAFD59F3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1433" y="4317298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de-DE" noProof="0" dirty="0"/>
              <a:t>Max Mustermann, M.Sc.</a:t>
            </a:r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xmlns="" id="{37210E77-5D46-47B9-A8D9-6995F708D2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1433" y="4506186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noProof="0" dirty="0" smtClean="0"/>
              <a:t>Research </a:t>
            </a:r>
            <a:r>
              <a:rPr lang="en-US" noProof="0" dirty="0" smtClean="0"/>
              <a:t>Associate</a:t>
            </a:r>
            <a:endParaRPr lang="en-US" noProof="0" dirty="0"/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xmlns="" id="{7F421743-674B-4F88-9970-230163471A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433" y="4695076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noProof="0"/>
              <a:t>Tel.: +49 1523 9501234</a:t>
            </a:r>
          </a:p>
        </p:txBody>
      </p:sp>
      <p:sp>
        <p:nvSpPr>
          <p:cNvPr id="12" name="Textplatzhalter 16">
            <a:extLst>
              <a:ext uri="{FF2B5EF4-FFF2-40B4-BE49-F238E27FC236}">
                <a16:creationId xmlns:a16="http://schemas.microsoft.com/office/drawing/2014/main" xmlns="" id="{C1FED5DF-4687-4F64-8640-E9719C723F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1433" y="4883963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marR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 sz="1100" b="0"/>
            </a:lvl1pPr>
          </a:lstStyle>
          <a:p>
            <a:pPr marL="0" marR="0" lvl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/>
            </a:pPr>
            <a:r>
              <a:rPr lang="de-DE" noProof="0"/>
              <a:t>E-Mail: max.mustermann@kit.edu</a:t>
            </a:r>
          </a:p>
        </p:txBody>
      </p:sp>
      <p:sp>
        <p:nvSpPr>
          <p:cNvPr id="13" name="Textplatzhalter 16">
            <a:extLst>
              <a:ext uri="{FF2B5EF4-FFF2-40B4-BE49-F238E27FC236}">
                <a16:creationId xmlns:a16="http://schemas.microsoft.com/office/drawing/2014/main" xmlns="" id="{8FE378A7-B7E3-4DC5-A3E3-1BFB9691B9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67313" y="4319569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de-DE" noProof="0"/>
              <a:t>Max Mustermann, M.Sc.</a:t>
            </a:r>
          </a:p>
        </p:txBody>
      </p:sp>
      <p:sp>
        <p:nvSpPr>
          <p:cNvPr id="14" name="Textplatzhalter 16">
            <a:extLst>
              <a:ext uri="{FF2B5EF4-FFF2-40B4-BE49-F238E27FC236}">
                <a16:creationId xmlns:a16="http://schemas.microsoft.com/office/drawing/2014/main" xmlns="" id="{4EA07B79-02BE-4344-A1E1-A46E2395EA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67313" y="4508459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noProof="0" dirty="0" smtClean="0"/>
              <a:t>Research </a:t>
            </a:r>
            <a:r>
              <a:rPr lang="en-US" noProof="0" dirty="0" smtClean="0"/>
              <a:t>Associate</a:t>
            </a:r>
            <a:endParaRPr lang="en-US" noProof="0" dirty="0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xmlns="" id="{0ADB4CAF-27D0-4C33-95F3-95CE07084D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67313" y="4697347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noProof="0"/>
              <a:t>Tel.: +49 1523 9501234</a:t>
            </a:r>
          </a:p>
        </p:txBody>
      </p:sp>
      <p:sp>
        <p:nvSpPr>
          <p:cNvPr id="16" name="Textplatzhalter 16">
            <a:extLst>
              <a:ext uri="{FF2B5EF4-FFF2-40B4-BE49-F238E27FC236}">
                <a16:creationId xmlns:a16="http://schemas.microsoft.com/office/drawing/2014/main" xmlns="" id="{C0DD692F-5577-4A9C-98F2-AA357691A4B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67313" y="4886236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marR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 sz="1100" b="0"/>
            </a:lvl1pPr>
          </a:lstStyle>
          <a:p>
            <a:pPr marL="0" marR="0" lvl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/>
            </a:pPr>
            <a:r>
              <a:rPr lang="de-DE" noProof="0" dirty="0"/>
              <a:t>E-Mail: max.mustermann@kit.edu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xmlns="" id="{AB4F2E3F-FEDA-472A-A2E4-C983744854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13193" y="4320333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de-DE" noProof="0" dirty="0"/>
              <a:t>Max Mustermann, M.Sc.</a:t>
            </a:r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xmlns="" id="{88E3149D-98D4-4EA1-90D9-7A9225DDA96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13193" y="4509223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noProof="0" dirty="0" smtClean="0"/>
              <a:t>Research </a:t>
            </a:r>
            <a:r>
              <a:rPr lang="en-US" noProof="0" dirty="0" smtClean="0"/>
              <a:t>Associate</a:t>
            </a:r>
            <a:endParaRPr lang="en-US" noProof="0" dirty="0"/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xmlns="" id="{7D3CB38E-5488-4840-9F59-FF7F89A106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13193" y="4698111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noProof="0"/>
              <a:t>Tel.: +49 1523 9501234</a:t>
            </a:r>
          </a:p>
        </p:txBody>
      </p:sp>
      <p:sp>
        <p:nvSpPr>
          <p:cNvPr id="20" name="Textplatzhalter 16">
            <a:extLst>
              <a:ext uri="{FF2B5EF4-FFF2-40B4-BE49-F238E27FC236}">
                <a16:creationId xmlns:a16="http://schemas.microsoft.com/office/drawing/2014/main" xmlns="" id="{92EC9A69-2ADB-46C8-B120-37D08E004CE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13193" y="4887000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marR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 sz="1100" b="0"/>
            </a:lvl1pPr>
          </a:lstStyle>
          <a:p>
            <a:pPr marL="0" marR="0" lvl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/>
            </a:pPr>
            <a:r>
              <a:rPr lang="de-DE" noProof="0" dirty="0"/>
              <a:t>E-Mail: max.mustermann@kit.edu</a:t>
            </a:r>
          </a:p>
        </p:txBody>
      </p:sp>
      <p:sp>
        <p:nvSpPr>
          <p:cNvPr id="36" name="Rechteck: obere Ecken, eine abgerundet, eine abgeschnitten 2">
            <a:extLst>
              <a:ext uri="{FF2B5EF4-FFF2-40B4-BE49-F238E27FC236}">
                <a16:creationId xmlns:a16="http://schemas.microsoft.com/office/drawing/2014/main" xmlns="" id="{F04BEA92-5D36-41D6-A128-766FB697F05A}"/>
              </a:ext>
            </a:extLst>
          </p:cNvPr>
          <p:cNvSpPr/>
          <p:nvPr userDrawn="1"/>
        </p:nvSpPr>
        <p:spPr>
          <a:xfrm flipH="1">
            <a:off x="7650072" y="3920657"/>
            <a:ext cx="4550553" cy="1211293"/>
          </a:xfrm>
          <a:custGeom>
            <a:avLst/>
            <a:gdLst>
              <a:gd name="connsiteX0" fmla="*/ 0 w 4097547"/>
              <a:gd name="connsiteY0" fmla="*/ 0 h 1228545"/>
              <a:gd name="connsiteX1" fmla="*/ 3892785 w 4097547"/>
              <a:gd name="connsiteY1" fmla="*/ 0 h 1228545"/>
              <a:gd name="connsiteX2" fmla="*/ 4097547 w 4097547"/>
              <a:gd name="connsiteY2" fmla="*/ 204762 h 1228545"/>
              <a:gd name="connsiteX3" fmla="*/ 4097547 w 4097547"/>
              <a:gd name="connsiteY3" fmla="*/ 1228545 h 1228545"/>
              <a:gd name="connsiteX4" fmla="*/ 0 w 4097547"/>
              <a:gd name="connsiteY4" fmla="*/ 1228545 h 1228545"/>
              <a:gd name="connsiteX5" fmla="*/ 0 w 4097547"/>
              <a:gd name="connsiteY5" fmla="*/ 0 h 1228545"/>
              <a:gd name="connsiteX6" fmla="*/ 0 w 4097547"/>
              <a:gd name="connsiteY6" fmla="*/ 0 h 1228545"/>
              <a:gd name="connsiteX0" fmla="*/ 0 w 4830792"/>
              <a:gd name="connsiteY0" fmla="*/ 0 h 1228545"/>
              <a:gd name="connsiteX1" fmla="*/ 3892785 w 4830792"/>
              <a:gd name="connsiteY1" fmla="*/ 0 h 1228545"/>
              <a:gd name="connsiteX2" fmla="*/ 4097547 w 4830792"/>
              <a:gd name="connsiteY2" fmla="*/ 204762 h 1228545"/>
              <a:gd name="connsiteX3" fmla="*/ 4830792 w 4830792"/>
              <a:gd name="connsiteY3" fmla="*/ 1228545 h 1228545"/>
              <a:gd name="connsiteX4" fmla="*/ 0 w 4830792"/>
              <a:gd name="connsiteY4" fmla="*/ 1228545 h 1228545"/>
              <a:gd name="connsiteX5" fmla="*/ 0 w 4830792"/>
              <a:gd name="connsiteY5" fmla="*/ 0 h 1228545"/>
              <a:gd name="connsiteX6" fmla="*/ 0 w 4830792"/>
              <a:gd name="connsiteY6" fmla="*/ 0 h 1228545"/>
              <a:gd name="connsiteX0" fmla="*/ 0 w 4968814"/>
              <a:gd name="connsiteY0" fmla="*/ 0 h 1228545"/>
              <a:gd name="connsiteX1" fmla="*/ 3892785 w 4968814"/>
              <a:gd name="connsiteY1" fmla="*/ 0 h 1228545"/>
              <a:gd name="connsiteX2" fmla="*/ 4097547 w 4968814"/>
              <a:gd name="connsiteY2" fmla="*/ 204762 h 1228545"/>
              <a:gd name="connsiteX3" fmla="*/ 4968814 w 4968814"/>
              <a:gd name="connsiteY3" fmla="*/ 1211292 h 1228545"/>
              <a:gd name="connsiteX4" fmla="*/ 0 w 4968814"/>
              <a:gd name="connsiteY4" fmla="*/ 1228545 h 1228545"/>
              <a:gd name="connsiteX5" fmla="*/ 0 w 4968814"/>
              <a:gd name="connsiteY5" fmla="*/ 0 h 1228545"/>
              <a:gd name="connsiteX6" fmla="*/ 0 w 4968814"/>
              <a:gd name="connsiteY6" fmla="*/ 0 h 1228545"/>
              <a:gd name="connsiteX0" fmla="*/ 0 w 4968814"/>
              <a:gd name="connsiteY0" fmla="*/ 0 h 1228545"/>
              <a:gd name="connsiteX1" fmla="*/ 3892785 w 4968814"/>
              <a:gd name="connsiteY1" fmla="*/ 0 h 1228545"/>
              <a:gd name="connsiteX2" fmla="*/ 4968814 w 4968814"/>
              <a:gd name="connsiteY2" fmla="*/ 1211292 h 1228545"/>
              <a:gd name="connsiteX3" fmla="*/ 0 w 4968814"/>
              <a:gd name="connsiteY3" fmla="*/ 1228545 h 1228545"/>
              <a:gd name="connsiteX4" fmla="*/ 0 w 4968814"/>
              <a:gd name="connsiteY4" fmla="*/ 0 h 1228545"/>
              <a:gd name="connsiteX5" fmla="*/ 0 w 4968814"/>
              <a:gd name="connsiteY5" fmla="*/ 0 h 1228545"/>
              <a:gd name="connsiteX0" fmla="*/ 0 w 4968814"/>
              <a:gd name="connsiteY0" fmla="*/ 155276 h 1383821"/>
              <a:gd name="connsiteX1" fmla="*/ 4082566 w 4968814"/>
              <a:gd name="connsiteY1" fmla="*/ 0 h 1383821"/>
              <a:gd name="connsiteX2" fmla="*/ 4968814 w 4968814"/>
              <a:gd name="connsiteY2" fmla="*/ 1366568 h 1383821"/>
              <a:gd name="connsiteX3" fmla="*/ 0 w 4968814"/>
              <a:gd name="connsiteY3" fmla="*/ 1383821 h 1383821"/>
              <a:gd name="connsiteX4" fmla="*/ 0 w 4968814"/>
              <a:gd name="connsiteY4" fmla="*/ 155276 h 1383821"/>
              <a:gd name="connsiteX5" fmla="*/ 0 w 4968814"/>
              <a:gd name="connsiteY5" fmla="*/ 155276 h 1383821"/>
              <a:gd name="connsiteX0" fmla="*/ 34506 w 4968814"/>
              <a:gd name="connsiteY0" fmla="*/ 250167 h 1383821"/>
              <a:gd name="connsiteX1" fmla="*/ 4082566 w 4968814"/>
              <a:gd name="connsiteY1" fmla="*/ 0 h 1383821"/>
              <a:gd name="connsiteX2" fmla="*/ 4968814 w 4968814"/>
              <a:gd name="connsiteY2" fmla="*/ 1366568 h 1383821"/>
              <a:gd name="connsiteX3" fmla="*/ 0 w 4968814"/>
              <a:gd name="connsiteY3" fmla="*/ 1383821 h 1383821"/>
              <a:gd name="connsiteX4" fmla="*/ 0 w 4968814"/>
              <a:gd name="connsiteY4" fmla="*/ 155276 h 1383821"/>
              <a:gd name="connsiteX5" fmla="*/ 34506 w 4968814"/>
              <a:gd name="connsiteY5" fmla="*/ 250167 h 1383821"/>
              <a:gd name="connsiteX0" fmla="*/ 25879 w 4968814"/>
              <a:gd name="connsiteY0" fmla="*/ 310552 h 1383821"/>
              <a:gd name="connsiteX1" fmla="*/ 4082566 w 4968814"/>
              <a:gd name="connsiteY1" fmla="*/ 0 h 1383821"/>
              <a:gd name="connsiteX2" fmla="*/ 4968814 w 4968814"/>
              <a:gd name="connsiteY2" fmla="*/ 1366568 h 1383821"/>
              <a:gd name="connsiteX3" fmla="*/ 0 w 4968814"/>
              <a:gd name="connsiteY3" fmla="*/ 1383821 h 1383821"/>
              <a:gd name="connsiteX4" fmla="*/ 0 w 4968814"/>
              <a:gd name="connsiteY4" fmla="*/ 155276 h 1383821"/>
              <a:gd name="connsiteX5" fmla="*/ 25879 w 4968814"/>
              <a:gd name="connsiteY5" fmla="*/ 310552 h 1383821"/>
              <a:gd name="connsiteX0" fmla="*/ 25879 w 4968814"/>
              <a:gd name="connsiteY0" fmla="*/ 215662 h 1288931"/>
              <a:gd name="connsiteX1" fmla="*/ 4082566 w 4968814"/>
              <a:gd name="connsiteY1" fmla="*/ 0 h 1288931"/>
              <a:gd name="connsiteX2" fmla="*/ 4968814 w 4968814"/>
              <a:gd name="connsiteY2" fmla="*/ 1271678 h 1288931"/>
              <a:gd name="connsiteX3" fmla="*/ 0 w 4968814"/>
              <a:gd name="connsiteY3" fmla="*/ 1288931 h 1288931"/>
              <a:gd name="connsiteX4" fmla="*/ 0 w 4968814"/>
              <a:gd name="connsiteY4" fmla="*/ 60386 h 1288931"/>
              <a:gd name="connsiteX5" fmla="*/ 25879 w 4968814"/>
              <a:gd name="connsiteY5" fmla="*/ 215662 h 1288931"/>
              <a:gd name="connsiteX0" fmla="*/ 25879 w 4968814"/>
              <a:gd name="connsiteY0" fmla="*/ 155277 h 1228546"/>
              <a:gd name="connsiteX1" fmla="*/ 4194710 w 4968814"/>
              <a:gd name="connsiteY1" fmla="*/ 0 h 1228546"/>
              <a:gd name="connsiteX2" fmla="*/ 4968814 w 4968814"/>
              <a:gd name="connsiteY2" fmla="*/ 1211293 h 1228546"/>
              <a:gd name="connsiteX3" fmla="*/ 0 w 4968814"/>
              <a:gd name="connsiteY3" fmla="*/ 1228546 h 1228546"/>
              <a:gd name="connsiteX4" fmla="*/ 0 w 4968814"/>
              <a:gd name="connsiteY4" fmla="*/ 1 h 1228546"/>
              <a:gd name="connsiteX5" fmla="*/ 25879 w 4968814"/>
              <a:gd name="connsiteY5" fmla="*/ 155277 h 1228546"/>
              <a:gd name="connsiteX0" fmla="*/ 25879 w 4968814"/>
              <a:gd name="connsiteY0" fmla="*/ 155276 h 1228545"/>
              <a:gd name="connsiteX1" fmla="*/ 4151578 w 4968814"/>
              <a:gd name="connsiteY1" fmla="*/ 34505 h 1228545"/>
              <a:gd name="connsiteX2" fmla="*/ 4968814 w 4968814"/>
              <a:gd name="connsiteY2" fmla="*/ 1211292 h 1228545"/>
              <a:gd name="connsiteX3" fmla="*/ 0 w 4968814"/>
              <a:gd name="connsiteY3" fmla="*/ 1228545 h 1228545"/>
              <a:gd name="connsiteX4" fmla="*/ 0 w 4968814"/>
              <a:gd name="connsiteY4" fmla="*/ 0 h 1228545"/>
              <a:gd name="connsiteX5" fmla="*/ 25879 w 4968814"/>
              <a:gd name="connsiteY5" fmla="*/ 155276 h 1228545"/>
              <a:gd name="connsiteX0" fmla="*/ 25879 w 4968814"/>
              <a:gd name="connsiteY0" fmla="*/ 155276 h 1228545"/>
              <a:gd name="connsiteX1" fmla="*/ 4151578 w 4968814"/>
              <a:gd name="connsiteY1" fmla="*/ 77637 h 1228545"/>
              <a:gd name="connsiteX2" fmla="*/ 4968814 w 4968814"/>
              <a:gd name="connsiteY2" fmla="*/ 1211292 h 1228545"/>
              <a:gd name="connsiteX3" fmla="*/ 0 w 4968814"/>
              <a:gd name="connsiteY3" fmla="*/ 1228545 h 1228545"/>
              <a:gd name="connsiteX4" fmla="*/ 0 w 4968814"/>
              <a:gd name="connsiteY4" fmla="*/ 0 h 1228545"/>
              <a:gd name="connsiteX5" fmla="*/ 25879 w 4968814"/>
              <a:gd name="connsiteY5" fmla="*/ 155276 h 1228545"/>
              <a:gd name="connsiteX0" fmla="*/ 25879 w 4968814"/>
              <a:gd name="connsiteY0" fmla="*/ 77639 h 1150908"/>
              <a:gd name="connsiteX1" fmla="*/ 4151578 w 4968814"/>
              <a:gd name="connsiteY1" fmla="*/ 0 h 1150908"/>
              <a:gd name="connsiteX2" fmla="*/ 4968814 w 4968814"/>
              <a:gd name="connsiteY2" fmla="*/ 1133655 h 1150908"/>
              <a:gd name="connsiteX3" fmla="*/ 0 w 4968814"/>
              <a:gd name="connsiteY3" fmla="*/ 1150908 h 1150908"/>
              <a:gd name="connsiteX4" fmla="*/ 25879 w 4968814"/>
              <a:gd name="connsiteY4" fmla="*/ 77639 h 1150908"/>
              <a:gd name="connsiteX0" fmla="*/ 0 w 4977441"/>
              <a:gd name="connsiteY0" fmla="*/ 60387 h 1150908"/>
              <a:gd name="connsiteX1" fmla="*/ 4160205 w 4977441"/>
              <a:gd name="connsiteY1" fmla="*/ 0 h 1150908"/>
              <a:gd name="connsiteX2" fmla="*/ 4977441 w 4977441"/>
              <a:gd name="connsiteY2" fmla="*/ 1133655 h 1150908"/>
              <a:gd name="connsiteX3" fmla="*/ 8627 w 4977441"/>
              <a:gd name="connsiteY3" fmla="*/ 1150908 h 1150908"/>
              <a:gd name="connsiteX4" fmla="*/ 0 w 4977441"/>
              <a:gd name="connsiteY4" fmla="*/ 60387 h 1150908"/>
              <a:gd name="connsiteX0" fmla="*/ 0 w 4977441"/>
              <a:gd name="connsiteY0" fmla="*/ 172530 h 1150908"/>
              <a:gd name="connsiteX1" fmla="*/ 4160205 w 4977441"/>
              <a:gd name="connsiteY1" fmla="*/ 0 h 1150908"/>
              <a:gd name="connsiteX2" fmla="*/ 4977441 w 4977441"/>
              <a:gd name="connsiteY2" fmla="*/ 1133655 h 1150908"/>
              <a:gd name="connsiteX3" fmla="*/ 8627 w 4977441"/>
              <a:gd name="connsiteY3" fmla="*/ 1150908 h 1150908"/>
              <a:gd name="connsiteX4" fmla="*/ 0 w 4977441"/>
              <a:gd name="connsiteY4" fmla="*/ 172530 h 1150908"/>
              <a:gd name="connsiteX0" fmla="*/ 10122 w 4969172"/>
              <a:gd name="connsiteY0" fmla="*/ 189783 h 1150908"/>
              <a:gd name="connsiteX1" fmla="*/ 4151936 w 4969172"/>
              <a:gd name="connsiteY1" fmla="*/ 0 h 1150908"/>
              <a:gd name="connsiteX2" fmla="*/ 4969172 w 4969172"/>
              <a:gd name="connsiteY2" fmla="*/ 1133655 h 1150908"/>
              <a:gd name="connsiteX3" fmla="*/ 358 w 4969172"/>
              <a:gd name="connsiteY3" fmla="*/ 1150908 h 1150908"/>
              <a:gd name="connsiteX4" fmla="*/ 10122 w 4969172"/>
              <a:gd name="connsiteY4" fmla="*/ 189783 h 1150908"/>
              <a:gd name="connsiteX0" fmla="*/ 10122 w 4969172"/>
              <a:gd name="connsiteY0" fmla="*/ 172530 h 1150908"/>
              <a:gd name="connsiteX1" fmla="*/ 4151936 w 4969172"/>
              <a:gd name="connsiteY1" fmla="*/ 0 h 1150908"/>
              <a:gd name="connsiteX2" fmla="*/ 4969172 w 4969172"/>
              <a:gd name="connsiteY2" fmla="*/ 1133655 h 1150908"/>
              <a:gd name="connsiteX3" fmla="*/ 358 w 4969172"/>
              <a:gd name="connsiteY3" fmla="*/ 1150908 h 1150908"/>
              <a:gd name="connsiteX4" fmla="*/ 10122 w 4969172"/>
              <a:gd name="connsiteY4" fmla="*/ 172530 h 1150908"/>
              <a:gd name="connsiteX0" fmla="*/ 10122 w 4969172"/>
              <a:gd name="connsiteY0" fmla="*/ 138024 h 1150908"/>
              <a:gd name="connsiteX1" fmla="*/ 4151936 w 4969172"/>
              <a:gd name="connsiteY1" fmla="*/ 0 h 1150908"/>
              <a:gd name="connsiteX2" fmla="*/ 4969172 w 4969172"/>
              <a:gd name="connsiteY2" fmla="*/ 1133655 h 1150908"/>
              <a:gd name="connsiteX3" fmla="*/ 358 w 4969172"/>
              <a:gd name="connsiteY3" fmla="*/ 1150908 h 1150908"/>
              <a:gd name="connsiteX4" fmla="*/ 10122 w 4969172"/>
              <a:gd name="connsiteY4" fmla="*/ 138024 h 1150908"/>
              <a:gd name="connsiteX0" fmla="*/ 10122 w 4969172"/>
              <a:gd name="connsiteY0" fmla="*/ 198409 h 1211293"/>
              <a:gd name="connsiteX1" fmla="*/ 4151936 w 4969172"/>
              <a:gd name="connsiteY1" fmla="*/ 0 h 1211293"/>
              <a:gd name="connsiteX2" fmla="*/ 4969172 w 4969172"/>
              <a:gd name="connsiteY2" fmla="*/ 1194040 h 1211293"/>
              <a:gd name="connsiteX3" fmla="*/ 358 w 4969172"/>
              <a:gd name="connsiteY3" fmla="*/ 1211293 h 1211293"/>
              <a:gd name="connsiteX4" fmla="*/ 10122 w 4969172"/>
              <a:gd name="connsiteY4" fmla="*/ 198409 h 1211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69172" h="1211293">
                <a:moveTo>
                  <a:pt x="10122" y="198409"/>
                </a:moveTo>
                <a:lnTo>
                  <a:pt x="4151936" y="0"/>
                </a:lnTo>
                <a:lnTo>
                  <a:pt x="4969172" y="1194040"/>
                </a:lnTo>
                <a:lnTo>
                  <a:pt x="358" y="1211293"/>
                </a:lnTo>
                <a:cubicBezTo>
                  <a:pt x="-2518" y="847786"/>
                  <a:pt x="12998" y="561916"/>
                  <a:pt x="10122" y="198409"/>
                </a:cubicBez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E5A5CE11-3D33-4C2B-B93D-3BD65D14986C}"/>
              </a:ext>
            </a:extLst>
          </p:cNvPr>
          <p:cNvSpPr/>
          <p:nvPr userDrawn="1"/>
        </p:nvSpPr>
        <p:spPr>
          <a:xfrm>
            <a:off x="-9603" y="3895496"/>
            <a:ext cx="5732259" cy="340495"/>
          </a:xfrm>
          <a:custGeom>
            <a:avLst/>
            <a:gdLst>
              <a:gd name="connsiteX0" fmla="*/ 0 w 4873925"/>
              <a:gd name="connsiteY0" fmla="*/ 0 h 862641"/>
              <a:gd name="connsiteX1" fmla="*/ 4873925 w 4873925"/>
              <a:gd name="connsiteY1" fmla="*/ 0 h 862641"/>
              <a:gd name="connsiteX2" fmla="*/ 4873925 w 4873925"/>
              <a:gd name="connsiteY2" fmla="*/ 862641 h 862641"/>
              <a:gd name="connsiteX3" fmla="*/ 0 w 4873925"/>
              <a:gd name="connsiteY3" fmla="*/ 862641 h 862641"/>
              <a:gd name="connsiteX4" fmla="*/ 0 w 4873925"/>
              <a:gd name="connsiteY4" fmla="*/ 0 h 862641"/>
              <a:gd name="connsiteX0" fmla="*/ 0 w 5546785"/>
              <a:gd name="connsiteY0" fmla="*/ 0 h 862641"/>
              <a:gd name="connsiteX1" fmla="*/ 5546785 w 5546785"/>
              <a:gd name="connsiteY1" fmla="*/ 258792 h 862641"/>
              <a:gd name="connsiteX2" fmla="*/ 4873925 w 5546785"/>
              <a:gd name="connsiteY2" fmla="*/ 862641 h 862641"/>
              <a:gd name="connsiteX3" fmla="*/ 0 w 5546785"/>
              <a:gd name="connsiteY3" fmla="*/ 862641 h 862641"/>
              <a:gd name="connsiteX4" fmla="*/ 0 w 5546785"/>
              <a:gd name="connsiteY4" fmla="*/ 0 h 862641"/>
              <a:gd name="connsiteX0" fmla="*/ 0 w 5546785"/>
              <a:gd name="connsiteY0" fmla="*/ 0 h 862641"/>
              <a:gd name="connsiteX1" fmla="*/ 5546785 w 5546785"/>
              <a:gd name="connsiteY1" fmla="*/ 258792 h 862641"/>
              <a:gd name="connsiteX2" fmla="*/ 0 w 5546785"/>
              <a:gd name="connsiteY2" fmla="*/ 862641 h 862641"/>
              <a:gd name="connsiteX3" fmla="*/ 0 w 5546785"/>
              <a:gd name="connsiteY3" fmla="*/ 0 h 862641"/>
              <a:gd name="connsiteX0" fmla="*/ 8626 w 5555411"/>
              <a:gd name="connsiteY0" fmla="*/ 0 h 396815"/>
              <a:gd name="connsiteX1" fmla="*/ 5555411 w 5555411"/>
              <a:gd name="connsiteY1" fmla="*/ 258792 h 396815"/>
              <a:gd name="connsiteX2" fmla="*/ 0 w 5555411"/>
              <a:gd name="connsiteY2" fmla="*/ 396815 h 396815"/>
              <a:gd name="connsiteX3" fmla="*/ 8626 w 5555411"/>
              <a:gd name="connsiteY3" fmla="*/ 0 h 396815"/>
              <a:gd name="connsiteX0" fmla="*/ 8626 w 5555411"/>
              <a:gd name="connsiteY0" fmla="*/ 0 h 345057"/>
              <a:gd name="connsiteX1" fmla="*/ 5555411 w 5555411"/>
              <a:gd name="connsiteY1" fmla="*/ 258792 h 345057"/>
              <a:gd name="connsiteX2" fmla="*/ 0 w 5555411"/>
              <a:gd name="connsiteY2" fmla="*/ 345057 h 345057"/>
              <a:gd name="connsiteX3" fmla="*/ 8626 w 5555411"/>
              <a:gd name="connsiteY3" fmla="*/ 0 h 345057"/>
              <a:gd name="connsiteX0" fmla="*/ 8626 w 5727939"/>
              <a:gd name="connsiteY0" fmla="*/ 0 h 345057"/>
              <a:gd name="connsiteX1" fmla="*/ 5727939 w 5727939"/>
              <a:gd name="connsiteY1" fmla="*/ 267419 h 345057"/>
              <a:gd name="connsiteX2" fmla="*/ 0 w 5727939"/>
              <a:gd name="connsiteY2" fmla="*/ 345057 h 345057"/>
              <a:gd name="connsiteX3" fmla="*/ 8626 w 5727939"/>
              <a:gd name="connsiteY3" fmla="*/ 0 h 345057"/>
              <a:gd name="connsiteX0" fmla="*/ 8626 w 5727939"/>
              <a:gd name="connsiteY0" fmla="*/ 0 h 345057"/>
              <a:gd name="connsiteX1" fmla="*/ 5727939 w 5727939"/>
              <a:gd name="connsiteY1" fmla="*/ 232913 h 345057"/>
              <a:gd name="connsiteX2" fmla="*/ 0 w 5727939"/>
              <a:gd name="connsiteY2" fmla="*/ 345057 h 345057"/>
              <a:gd name="connsiteX3" fmla="*/ 8626 w 5727939"/>
              <a:gd name="connsiteY3" fmla="*/ 0 h 345057"/>
              <a:gd name="connsiteX0" fmla="*/ 1486 w 5727939"/>
              <a:gd name="connsiteY0" fmla="*/ 0 h 342676"/>
              <a:gd name="connsiteX1" fmla="*/ 5727939 w 5727939"/>
              <a:gd name="connsiteY1" fmla="*/ 230532 h 342676"/>
              <a:gd name="connsiteX2" fmla="*/ 0 w 5727939"/>
              <a:gd name="connsiteY2" fmla="*/ 342676 h 342676"/>
              <a:gd name="connsiteX3" fmla="*/ 1486 w 5727939"/>
              <a:gd name="connsiteY3" fmla="*/ 0 h 342676"/>
              <a:gd name="connsiteX0" fmla="*/ 83 w 5728916"/>
              <a:gd name="connsiteY0" fmla="*/ 0 h 340296"/>
              <a:gd name="connsiteX1" fmla="*/ 5728916 w 5728916"/>
              <a:gd name="connsiteY1" fmla="*/ 228152 h 340296"/>
              <a:gd name="connsiteX2" fmla="*/ 977 w 5728916"/>
              <a:gd name="connsiteY2" fmla="*/ 340296 h 340296"/>
              <a:gd name="connsiteX3" fmla="*/ 83 w 5728916"/>
              <a:gd name="connsiteY3" fmla="*/ 0 h 340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8916" h="340296">
                <a:moveTo>
                  <a:pt x="83" y="0"/>
                </a:moveTo>
                <a:lnTo>
                  <a:pt x="5728916" y="228152"/>
                </a:lnTo>
                <a:lnTo>
                  <a:pt x="977" y="340296"/>
                </a:lnTo>
                <a:cubicBezTo>
                  <a:pt x="1472" y="226071"/>
                  <a:pt x="-412" y="114225"/>
                  <a:pt x="83" y="0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xmlns="" id="{F3708F8E-8622-4A72-9638-8ECC39F595A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5938" y="593725"/>
            <a:ext cx="3962623" cy="553998"/>
          </a:xfrm>
        </p:spPr>
        <p:txBody>
          <a:bodyPr vert="horz" wrap="none" lIns="0" tIns="0" rIns="0" bIns="0" rtlCol="0" anchor="b">
            <a:spAutoFit/>
          </a:bodyPr>
          <a:lstStyle>
            <a:lvl1pPr marL="0" marR="0" indent="0" algn="l" defTabSz="609493" rtl="0" eaLnBrk="1" fontAlgn="auto" latinLnBrk="0" hangingPunct="1">
              <a:lnSpc>
                <a:spcPct val="9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ct val="88000"/>
              <a:buFont typeface="Wingdings" panose="05000000000000000000" pitchFamily="2" charset="2"/>
              <a:buNone/>
              <a:tabLst/>
              <a:defRPr lang="de-DE" sz="4000" b="1" dirty="0" smtClean="0"/>
            </a:lvl1pPr>
            <a:lvl2pPr>
              <a:defRPr lang="de-DE" sz="2400" dirty="0" smtClean="0"/>
            </a:lvl2pPr>
            <a:lvl3pPr>
              <a:defRPr lang="de-DE" sz="2400" dirty="0" smtClean="0"/>
            </a:lvl3pPr>
            <a:lvl4pPr>
              <a:defRPr lang="de-DE" sz="2400" dirty="0" smtClean="0"/>
            </a:lvl4pPr>
            <a:lvl5pPr>
              <a:defRPr lang="de-DE" sz="2400" dirty="0"/>
            </a:lvl5pPr>
          </a:lstStyle>
          <a:p>
            <a:pPr marL="0" lvl="0" defTabSz="609493"/>
            <a:r>
              <a:rPr lang="en-US" noProof="0" dirty="0"/>
              <a:t>Click to add text</a:t>
            </a:r>
            <a:endParaRPr lang="en-US" dirty="0"/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xmlns="" id="{BF6184DA-008A-428D-8BAB-479835804270}"/>
              </a:ext>
            </a:extLst>
          </p:cNvPr>
          <p:cNvSpPr txBox="1"/>
          <p:nvPr userDrawn="1"/>
        </p:nvSpPr>
        <p:spPr>
          <a:xfrm>
            <a:off x="213644" y="5331354"/>
            <a:ext cx="2653669" cy="875968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/>
          <a:p>
            <a:pPr algn="l"/>
            <a:r>
              <a:rPr lang="en-US" sz="2000" b="1" dirty="0">
                <a:solidFill>
                  <a:schemeClr val="bg1"/>
                </a:solidFill>
              </a:rPr>
              <a:t>Thank you for your attention!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xmlns="" id="{7E0346E8-32FC-408D-ABCF-E1C9DC6E6802}"/>
              </a:ext>
            </a:extLst>
          </p:cNvPr>
          <p:cNvSpPr txBox="1"/>
          <p:nvPr userDrawn="1"/>
        </p:nvSpPr>
        <p:spPr>
          <a:xfrm>
            <a:off x="10460736" y="5993125"/>
            <a:ext cx="1731264" cy="336239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/>
          <a:p>
            <a:pPr algn="l"/>
            <a:r>
              <a:rPr lang="de-DE" sz="1400" b="1" i="1" dirty="0" smtClean="0">
                <a:solidFill>
                  <a:schemeClr val="bg1"/>
                </a:solidFill>
              </a:rPr>
              <a:t>www.cats2024.eu/</a:t>
            </a:r>
            <a:endParaRPr lang="de-DE" sz="1400" b="1" i="1" dirty="0">
              <a:solidFill>
                <a:schemeClr val="bg1"/>
              </a:solidFill>
            </a:endParaRP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543925" y="4192069"/>
            <a:ext cx="3238500" cy="174590"/>
          </a:xfrm>
          <a:noFill/>
        </p:spPr>
        <p:txBody>
          <a:bodyPr vert="horz" wrap="square" anchor="t" anchorCtr="0">
            <a:noAutofit/>
          </a:bodyPr>
          <a:lstStyle>
            <a:lvl1pPr marL="0" marR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1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Institute</a:t>
            </a:r>
          </a:p>
        </p:txBody>
      </p:sp>
      <p:sp>
        <p:nvSpPr>
          <p:cNvPr id="32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8543925" y="4353821"/>
            <a:ext cx="3238500" cy="174590"/>
          </a:xfrm>
          <a:noFill/>
        </p:spPr>
        <p:txBody>
          <a:bodyPr vert="horz" wrap="square" anchor="t" anchorCtr="0">
            <a:normAutofit/>
          </a:bodyPr>
          <a:lstStyle>
            <a:lvl1pPr marL="0" marR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treet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543925" y="4515573"/>
            <a:ext cx="3238500" cy="174590"/>
          </a:xfrm>
          <a:noFill/>
        </p:spPr>
        <p:txBody>
          <a:bodyPr vert="horz" wrap="square" anchor="t" anchorCtr="0">
            <a:normAutofit/>
          </a:bodyPr>
          <a:lstStyle>
            <a:lvl1pPr marL="0" marR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ity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8543925" y="4677325"/>
            <a:ext cx="3238500" cy="174590"/>
          </a:xfrm>
          <a:noFill/>
        </p:spPr>
        <p:txBody>
          <a:bodyPr vert="horz" wrap="square" anchor="t" anchorCtr="0">
            <a:normAutofit/>
          </a:bodyPr>
          <a:lstStyle>
            <a:lvl1pPr marL="0" marR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ountry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8543925" y="4839076"/>
            <a:ext cx="3238500" cy="174590"/>
          </a:xfrm>
          <a:noFill/>
        </p:spPr>
        <p:txBody>
          <a:bodyPr vert="horz" wrap="square" anchor="t" anchorCtr="0">
            <a:normAutofit/>
          </a:bodyPr>
          <a:lstStyle>
            <a:lvl1pPr marL="0" marR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Website</a:t>
            </a:r>
          </a:p>
        </p:txBody>
      </p:sp>
    </p:spTree>
    <p:extLst>
      <p:ext uri="{BB962C8B-B14F-4D97-AF65-F5344CB8AC3E}">
        <p14:creationId xmlns:p14="http://schemas.microsoft.com/office/powerpoint/2010/main" val="880256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_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885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Bildplatzhalter 3">
            <a:extLst>
              <a:ext uri="{FF2B5EF4-FFF2-40B4-BE49-F238E27FC236}">
                <a16:creationId xmlns:a16="http://schemas.microsoft.com/office/drawing/2014/main" xmlns="" id="{E9E46AC9-51D7-40DD-95AC-6C32104138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4762" y="1215738"/>
            <a:ext cx="12196762" cy="2924942"/>
          </a:xfrm>
          <a:custGeom>
            <a:avLst/>
            <a:gdLst>
              <a:gd name="connsiteX0" fmla="*/ 0 w 12192000"/>
              <a:gd name="connsiteY0" fmla="*/ 0 h 2924942"/>
              <a:gd name="connsiteX1" fmla="*/ 12192000 w 12192000"/>
              <a:gd name="connsiteY1" fmla="*/ 0 h 2924942"/>
              <a:gd name="connsiteX2" fmla="*/ 12192000 w 12192000"/>
              <a:gd name="connsiteY2" fmla="*/ 2924942 h 2924942"/>
              <a:gd name="connsiteX3" fmla="*/ 0 w 12192000"/>
              <a:gd name="connsiteY3" fmla="*/ 2924942 h 2924942"/>
              <a:gd name="connsiteX4" fmla="*/ 0 w 12192000"/>
              <a:gd name="connsiteY4" fmla="*/ 0 h 2924942"/>
              <a:gd name="connsiteX0" fmla="*/ 0 w 12192000"/>
              <a:gd name="connsiteY0" fmla="*/ 0 h 2924942"/>
              <a:gd name="connsiteX1" fmla="*/ 12192000 w 12192000"/>
              <a:gd name="connsiteY1" fmla="*/ 0 h 2924942"/>
              <a:gd name="connsiteX2" fmla="*/ 12192000 w 12192000"/>
              <a:gd name="connsiteY2" fmla="*/ 2924942 h 2924942"/>
              <a:gd name="connsiteX3" fmla="*/ 5676900 w 12192000"/>
              <a:gd name="connsiteY3" fmla="*/ 2918112 h 2924942"/>
              <a:gd name="connsiteX4" fmla="*/ 0 w 12192000"/>
              <a:gd name="connsiteY4" fmla="*/ 2924942 h 2924942"/>
              <a:gd name="connsiteX5" fmla="*/ 0 w 12192000"/>
              <a:gd name="connsiteY5" fmla="*/ 0 h 2924942"/>
              <a:gd name="connsiteX0" fmla="*/ 4762 w 12196762"/>
              <a:gd name="connsiteY0" fmla="*/ 0 h 2924942"/>
              <a:gd name="connsiteX1" fmla="*/ 12196762 w 12196762"/>
              <a:gd name="connsiteY1" fmla="*/ 0 h 2924942"/>
              <a:gd name="connsiteX2" fmla="*/ 12196762 w 12196762"/>
              <a:gd name="connsiteY2" fmla="*/ 2924942 h 2924942"/>
              <a:gd name="connsiteX3" fmla="*/ 5681662 w 12196762"/>
              <a:gd name="connsiteY3" fmla="*/ 2918112 h 2924942"/>
              <a:gd name="connsiteX4" fmla="*/ 0 w 12196762"/>
              <a:gd name="connsiteY4" fmla="*/ 2691579 h 2924942"/>
              <a:gd name="connsiteX5" fmla="*/ 4762 w 12196762"/>
              <a:gd name="connsiteY5" fmla="*/ 0 h 2924942"/>
              <a:gd name="connsiteX0" fmla="*/ 4762 w 12196762"/>
              <a:gd name="connsiteY0" fmla="*/ 0 h 2924942"/>
              <a:gd name="connsiteX1" fmla="*/ 12196762 w 12196762"/>
              <a:gd name="connsiteY1" fmla="*/ 0 h 2924942"/>
              <a:gd name="connsiteX2" fmla="*/ 12196762 w 12196762"/>
              <a:gd name="connsiteY2" fmla="*/ 2924942 h 2924942"/>
              <a:gd name="connsiteX3" fmla="*/ 7505700 w 12196762"/>
              <a:gd name="connsiteY3" fmla="*/ 2918112 h 2924942"/>
              <a:gd name="connsiteX4" fmla="*/ 5681662 w 12196762"/>
              <a:gd name="connsiteY4" fmla="*/ 2918112 h 2924942"/>
              <a:gd name="connsiteX5" fmla="*/ 0 w 12196762"/>
              <a:gd name="connsiteY5" fmla="*/ 2691579 h 2924942"/>
              <a:gd name="connsiteX6" fmla="*/ 4762 w 12196762"/>
              <a:gd name="connsiteY6" fmla="*/ 0 h 2924942"/>
              <a:gd name="connsiteX0" fmla="*/ 4762 w 12196762"/>
              <a:gd name="connsiteY0" fmla="*/ 0 h 2924942"/>
              <a:gd name="connsiteX1" fmla="*/ 12196762 w 12196762"/>
              <a:gd name="connsiteY1" fmla="*/ 0 h 2924942"/>
              <a:gd name="connsiteX2" fmla="*/ 12196762 w 12196762"/>
              <a:gd name="connsiteY2" fmla="*/ 2924942 h 2924942"/>
              <a:gd name="connsiteX3" fmla="*/ 8391525 w 12196762"/>
              <a:gd name="connsiteY3" fmla="*/ 2913350 h 2924942"/>
              <a:gd name="connsiteX4" fmla="*/ 7505700 w 12196762"/>
              <a:gd name="connsiteY4" fmla="*/ 2918112 h 2924942"/>
              <a:gd name="connsiteX5" fmla="*/ 5681662 w 12196762"/>
              <a:gd name="connsiteY5" fmla="*/ 2918112 h 2924942"/>
              <a:gd name="connsiteX6" fmla="*/ 0 w 12196762"/>
              <a:gd name="connsiteY6" fmla="*/ 2691579 h 2924942"/>
              <a:gd name="connsiteX7" fmla="*/ 4762 w 12196762"/>
              <a:gd name="connsiteY7" fmla="*/ 0 h 2924942"/>
              <a:gd name="connsiteX0" fmla="*/ 4762 w 12196762"/>
              <a:gd name="connsiteY0" fmla="*/ 0 h 2924942"/>
              <a:gd name="connsiteX1" fmla="*/ 12196762 w 12196762"/>
              <a:gd name="connsiteY1" fmla="*/ 0 h 2924942"/>
              <a:gd name="connsiteX2" fmla="*/ 12196762 w 12196762"/>
              <a:gd name="connsiteY2" fmla="*/ 2924942 h 2924942"/>
              <a:gd name="connsiteX3" fmla="*/ 8420100 w 12196762"/>
              <a:gd name="connsiteY3" fmla="*/ 2708562 h 2924942"/>
              <a:gd name="connsiteX4" fmla="*/ 7505700 w 12196762"/>
              <a:gd name="connsiteY4" fmla="*/ 2918112 h 2924942"/>
              <a:gd name="connsiteX5" fmla="*/ 5681662 w 12196762"/>
              <a:gd name="connsiteY5" fmla="*/ 2918112 h 2924942"/>
              <a:gd name="connsiteX6" fmla="*/ 0 w 12196762"/>
              <a:gd name="connsiteY6" fmla="*/ 2691579 h 2924942"/>
              <a:gd name="connsiteX7" fmla="*/ 4762 w 12196762"/>
              <a:gd name="connsiteY7" fmla="*/ 0 h 2924942"/>
              <a:gd name="connsiteX0" fmla="*/ 4762 w 12196762"/>
              <a:gd name="connsiteY0" fmla="*/ 0 h 2924942"/>
              <a:gd name="connsiteX1" fmla="*/ 12196762 w 12196762"/>
              <a:gd name="connsiteY1" fmla="*/ 0 h 2924942"/>
              <a:gd name="connsiteX2" fmla="*/ 12196762 w 12196762"/>
              <a:gd name="connsiteY2" fmla="*/ 2924942 h 2924942"/>
              <a:gd name="connsiteX3" fmla="*/ 8420100 w 12196762"/>
              <a:gd name="connsiteY3" fmla="*/ 2708562 h 2924942"/>
              <a:gd name="connsiteX4" fmla="*/ 8267700 w 12196762"/>
              <a:gd name="connsiteY4" fmla="*/ 2913349 h 2924942"/>
              <a:gd name="connsiteX5" fmla="*/ 5681662 w 12196762"/>
              <a:gd name="connsiteY5" fmla="*/ 2918112 h 2924942"/>
              <a:gd name="connsiteX6" fmla="*/ 0 w 12196762"/>
              <a:gd name="connsiteY6" fmla="*/ 2691579 h 2924942"/>
              <a:gd name="connsiteX7" fmla="*/ 4762 w 12196762"/>
              <a:gd name="connsiteY7" fmla="*/ 0 h 2924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6762" h="2924942">
                <a:moveTo>
                  <a:pt x="4762" y="0"/>
                </a:moveTo>
                <a:lnTo>
                  <a:pt x="12196762" y="0"/>
                </a:lnTo>
                <a:lnTo>
                  <a:pt x="12196762" y="2924942"/>
                </a:lnTo>
                <a:lnTo>
                  <a:pt x="8420100" y="2708562"/>
                </a:lnTo>
                <a:lnTo>
                  <a:pt x="8267700" y="2913349"/>
                </a:lnTo>
                <a:lnTo>
                  <a:pt x="5681662" y="2918112"/>
                </a:lnTo>
                <a:lnTo>
                  <a:pt x="0" y="2691579"/>
                </a:lnTo>
                <a:cubicBezTo>
                  <a:pt x="1587" y="1794386"/>
                  <a:pt x="3175" y="897193"/>
                  <a:pt x="4762" y="0"/>
                </a:cubicBezTo>
                <a:close/>
              </a:path>
            </a:pathLst>
          </a:custGeom>
          <a:solidFill>
            <a:srgbClr val="FF99FF"/>
          </a:solidFill>
        </p:spPr>
        <p:txBody>
          <a:bodyPr anchor="t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add</a:t>
            </a:r>
            <a:r>
              <a:rPr lang="de-DE" noProof="0" dirty="0"/>
              <a:t> </a:t>
            </a:r>
            <a:r>
              <a:rPr lang="de-DE" noProof="0" dirty="0" err="1"/>
              <a:t>picture</a:t>
            </a:r>
            <a:r>
              <a:rPr lang="de-DE" noProof="0" dirty="0"/>
              <a:t>.</a:t>
            </a:r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xmlns="" id="{0397607F-F698-4EA1-98DA-BCA1BEE01EB4}"/>
              </a:ext>
            </a:extLst>
          </p:cNvPr>
          <p:cNvSpPr/>
          <p:nvPr userDrawn="1"/>
        </p:nvSpPr>
        <p:spPr>
          <a:xfrm>
            <a:off x="0" y="5106047"/>
            <a:ext cx="12192000" cy="12233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6" name="Rechteck: obere Ecken, eine abgerundet, eine abgeschnitten 2">
            <a:extLst>
              <a:ext uri="{FF2B5EF4-FFF2-40B4-BE49-F238E27FC236}">
                <a16:creationId xmlns:a16="http://schemas.microsoft.com/office/drawing/2014/main" xmlns="" id="{F04BEA92-5D36-41D6-A128-766FB697F05A}"/>
              </a:ext>
            </a:extLst>
          </p:cNvPr>
          <p:cNvSpPr/>
          <p:nvPr userDrawn="1"/>
        </p:nvSpPr>
        <p:spPr>
          <a:xfrm flipH="1">
            <a:off x="7650072" y="3920657"/>
            <a:ext cx="4550553" cy="1211293"/>
          </a:xfrm>
          <a:custGeom>
            <a:avLst/>
            <a:gdLst>
              <a:gd name="connsiteX0" fmla="*/ 0 w 4097547"/>
              <a:gd name="connsiteY0" fmla="*/ 0 h 1228545"/>
              <a:gd name="connsiteX1" fmla="*/ 3892785 w 4097547"/>
              <a:gd name="connsiteY1" fmla="*/ 0 h 1228545"/>
              <a:gd name="connsiteX2" fmla="*/ 4097547 w 4097547"/>
              <a:gd name="connsiteY2" fmla="*/ 204762 h 1228545"/>
              <a:gd name="connsiteX3" fmla="*/ 4097547 w 4097547"/>
              <a:gd name="connsiteY3" fmla="*/ 1228545 h 1228545"/>
              <a:gd name="connsiteX4" fmla="*/ 0 w 4097547"/>
              <a:gd name="connsiteY4" fmla="*/ 1228545 h 1228545"/>
              <a:gd name="connsiteX5" fmla="*/ 0 w 4097547"/>
              <a:gd name="connsiteY5" fmla="*/ 0 h 1228545"/>
              <a:gd name="connsiteX6" fmla="*/ 0 w 4097547"/>
              <a:gd name="connsiteY6" fmla="*/ 0 h 1228545"/>
              <a:gd name="connsiteX0" fmla="*/ 0 w 4830792"/>
              <a:gd name="connsiteY0" fmla="*/ 0 h 1228545"/>
              <a:gd name="connsiteX1" fmla="*/ 3892785 w 4830792"/>
              <a:gd name="connsiteY1" fmla="*/ 0 h 1228545"/>
              <a:gd name="connsiteX2" fmla="*/ 4097547 w 4830792"/>
              <a:gd name="connsiteY2" fmla="*/ 204762 h 1228545"/>
              <a:gd name="connsiteX3" fmla="*/ 4830792 w 4830792"/>
              <a:gd name="connsiteY3" fmla="*/ 1228545 h 1228545"/>
              <a:gd name="connsiteX4" fmla="*/ 0 w 4830792"/>
              <a:gd name="connsiteY4" fmla="*/ 1228545 h 1228545"/>
              <a:gd name="connsiteX5" fmla="*/ 0 w 4830792"/>
              <a:gd name="connsiteY5" fmla="*/ 0 h 1228545"/>
              <a:gd name="connsiteX6" fmla="*/ 0 w 4830792"/>
              <a:gd name="connsiteY6" fmla="*/ 0 h 1228545"/>
              <a:gd name="connsiteX0" fmla="*/ 0 w 4968814"/>
              <a:gd name="connsiteY0" fmla="*/ 0 h 1228545"/>
              <a:gd name="connsiteX1" fmla="*/ 3892785 w 4968814"/>
              <a:gd name="connsiteY1" fmla="*/ 0 h 1228545"/>
              <a:gd name="connsiteX2" fmla="*/ 4097547 w 4968814"/>
              <a:gd name="connsiteY2" fmla="*/ 204762 h 1228545"/>
              <a:gd name="connsiteX3" fmla="*/ 4968814 w 4968814"/>
              <a:gd name="connsiteY3" fmla="*/ 1211292 h 1228545"/>
              <a:gd name="connsiteX4" fmla="*/ 0 w 4968814"/>
              <a:gd name="connsiteY4" fmla="*/ 1228545 h 1228545"/>
              <a:gd name="connsiteX5" fmla="*/ 0 w 4968814"/>
              <a:gd name="connsiteY5" fmla="*/ 0 h 1228545"/>
              <a:gd name="connsiteX6" fmla="*/ 0 w 4968814"/>
              <a:gd name="connsiteY6" fmla="*/ 0 h 1228545"/>
              <a:gd name="connsiteX0" fmla="*/ 0 w 4968814"/>
              <a:gd name="connsiteY0" fmla="*/ 0 h 1228545"/>
              <a:gd name="connsiteX1" fmla="*/ 3892785 w 4968814"/>
              <a:gd name="connsiteY1" fmla="*/ 0 h 1228545"/>
              <a:gd name="connsiteX2" fmla="*/ 4968814 w 4968814"/>
              <a:gd name="connsiteY2" fmla="*/ 1211292 h 1228545"/>
              <a:gd name="connsiteX3" fmla="*/ 0 w 4968814"/>
              <a:gd name="connsiteY3" fmla="*/ 1228545 h 1228545"/>
              <a:gd name="connsiteX4" fmla="*/ 0 w 4968814"/>
              <a:gd name="connsiteY4" fmla="*/ 0 h 1228545"/>
              <a:gd name="connsiteX5" fmla="*/ 0 w 4968814"/>
              <a:gd name="connsiteY5" fmla="*/ 0 h 1228545"/>
              <a:gd name="connsiteX0" fmla="*/ 0 w 4968814"/>
              <a:gd name="connsiteY0" fmla="*/ 155276 h 1383821"/>
              <a:gd name="connsiteX1" fmla="*/ 4082566 w 4968814"/>
              <a:gd name="connsiteY1" fmla="*/ 0 h 1383821"/>
              <a:gd name="connsiteX2" fmla="*/ 4968814 w 4968814"/>
              <a:gd name="connsiteY2" fmla="*/ 1366568 h 1383821"/>
              <a:gd name="connsiteX3" fmla="*/ 0 w 4968814"/>
              <a:gd name="connsiteY3" fmla="*/ 1383821 h 1383821"/>
              <a:gd name="connsiteX4" fmla="*/ 0 w 4968814"/>
              <a:gd name="connsiteY4" fmla="*/ 155276 h 1383821"/>
              <a:gd name="connsiteX5" fmla="*/ 0 w 4968814"/>
              <a:gd name="connsiteY5" fmla="*/ 155276 h 1383821"/>
              <a:gd name="connsiteX0" fmla="*/ 34506 w 4968814"/>
              <a:gd name="connsiteY0" fmla="*/ 250167 h 1383821"/>
              <a:gd name="connsiteX1" fmla="*/ 4082566 w 4968814"/>
              <a:gd name="connsiteY1" fmla="*/ 0 h 1383821"/>
              <a:gd name="connsiteX2" fmla="*/ 4968814 w 4968814"/>
              <a:gd name="connsiteY2" fmla="*/ 1366568 h 1383821"/>
              <a:gd name="connsiteX3" fmla="*/ 0 w 4968814"/>
              <a:gd name="connsiteY3" fmla="*/ 1383821 h 1383821"/>
              <a:gd name="connsiteX4" fmla="*/ 0 w 4968814"/>
              <a:gd name="connsiteY4" fmla="*/ 155276 h 1383821"/>
              <a:gd name="connsiteX5" fmla="*/ 34506 w 4968814"/>
              <a:gd name="connsiteY5" fmla="*/ 250167 h 1383821"/>
              <a:gd name="connsiteX0" fmla="*/ 25879 w 4968814"/>
              <a:gd name="connsiteY0" fmla="*/ 310552 h 1383821"/>
              <a:gd name="connsiteX1" fmla="*/ 4082566 w 4968814"/>
              <a:gd name="connsiteY1" fmla="*/ 0 h 1383821"/>
              <a:gd name="connsiteX2" fmla="*/ 4968814 w 4968814"/>
              <a:gd name="connsiteY2" fmla="*/ 1366568 h 1383821"/>
              <a:gd name="connsiteX3" fmla="*/ 0 w 4968814"/>
              <a:gd name="connsiteY3" fmla="*/ 1383821 h 1383821"/>
              <a:gd name="connsiteX4" fmla="*/ 0 w 4968814"/>
              <a:gd name="connsiteY4" fmla="*/ 155276 h 1383821"/>
              <a:gd name="connsiteX5" fmla="*/ 25879 w 4968814"/>
              <a:gd name="connsiteY5" fmla="*/ 310552 h 1383821"/>
              <a:gd name="connsiteX0" fmla="*/ 25879 w 4968814"/>
              <a:gd name="connsiteY0" fmla="*/ 215662 h 1288931"/>
              <a:gd name="connsiteX1" fmla="*/ 4082566 w 4968814"/>
              <a:gd name="connsiteY1" fmla="*/ 0 h 1288931"/>
              <a:gd name="connsiteX2" fmla="*/ 4968814 w 4968814"/>
              <a:gd name="connsiteY2" fmla="*/ 1271678 h 1288931"/>
              <a:gd name="connsiteX3" fmla="*/ 0 w 4968814"/>
              <a:gd name="connsiteY3" fmla="*/ 1288931 h 1288931"/>
              <a:gd name="connsiteX4" fmla="*/ 0 w 4968814"/>
              <a:gd name="connsiteY4" fmla="*/ 60386 h 1288931"/>
              <a:gd name="connsiteX5" fmla="*/ 25879 w 4968814"/>
              <a:gd name="connsiteY5" fmla="*/ 215662 h 1288931"/>
              <a:gd name="connsiteX0" fmla="*/ 25879 w 4968814"/>
              <a:gd name="connsiteY0" fmla="*/ 155277 h 1228546"/>
              <a:gd name="connsiteX1" fmla="*/ 4194710 w 4968814"/>
              <a:gd name="connsiteY1" fmla="*/ 0 h 1228546"/>
              <a:gd name="connsiteX2" fmla="*/ 4968814 w 4968814"/>
              <a:gd name="connsiteY2" fmla="*/ 1211293 h 1228546"/>
              <a:gd name="connsiteX3" fmla="*/ 0 w 4968814"/>
              <a:gd name="connsiteY3" fmla="*/ 1228546 h 1228546"/>
              <a:gd name="connsiteX4" fmla="*/ 0 w 4968814"/>
              <a:gd name="connsiteY4" fmla="*/ 1 h 1228546"/>
              <a:gd name="connsiteX5" fmla="*/ 25879 w 4968814"/>
              <a:gd name="connsiteY5" fmla="*/ 155277 h 1228546"/>
              <a:gd name="connsiteX0" fmla="*/ 25879 w 4968814"/>
              <a:gd name="connsiteY0" fmla="*/ 155276 h 1228545"/>
              <a:gd name="connsiteX1" fmla="*/ 4151578 w 4968814"/>
              <a:gd name="connsiteY1" fmla="*/ 34505 h 1228545"/>
              <a:gd name="connsiteX2" fmla="*/ 4968814 w 4968814"/>
              <a:gd name="connsiteY2" fmla="*/ 1211292 h 1228545"/>
              <a:gd name="connsiteX3" fmla="*/ 0 w 4968814"/>
              <a:gd name="connsiteY3" fmla="*/ 1228545 h 1228545"/>
              <a:gd name="connsiteX4" fmla="*/ 0 w 4968814"/>
              <a:gd name="connsiteY4" fmla="*/ 0 h 1228545"/>
              <a:gd name="connsiteX5" fmla="*/ 25879 w 4968814"/>
              <a:gd name="connsiteY5" fmla="*/ 155276 h 1228545"/>
              <a:gd name="connsiteX0" fmla="*/ 25879 w 4968814"/>
              <a:gd name="connsiteY0" fmla="*/ 155276 h 1228545"/>
              <a:gd name="connsiteX1" fmla="*/ 4151578 w 4968814"/>
              <a:gd name="connsiteY1" fmla="*/ 77637 h 1228545"/>
              <a:gd name="connsiteX2" fmla="*/ 4968814 w 4968814"/>
              <a:gd name="connsiteY2" fmla="*/ 1211292 h 1228545"/>
              <a:gd name="connsiteX3" fmla="*/ 0 w 4968814"/>
              <a:gd name="connsiteY3" fmla="*/ 1228545 h 1228545"/>
              <a:gd name="connsiteX4" fmla="*/ 0 w 4968814"/>
              <a:gd name="connsiteY4" fmla="*/ 0 h 1228545"/>
              <a:gd name="connsiteX5" fmla="*/ 25879 w 4968814"/>
              <a:gd name="connsiteY5" fmla="*/ 155276 h 1228545"/>
              <a:gd name="connsiteX0" fmla="*/ 25879 w 4968814"/>
              <a:gd name="connsiteY0" fmla="*/ 77639 h 1150908"/>
              <a:gd name="connsiteX1" fmla="*/ 4151578 w 4968814"/>
              <a:gd name="connsiteY1" fmla="*/ 0 h 1150908"/>
              <a:gd name="connsiteX2" fmla="*/ 4968814 w 4968814"/>
              <a:gd name="connsiteY2" fmla="*/ 1133655 h 1150908"/>
              <a:gd name="connsiteX3" fmla="*/ 0 w 4968814"/>
              <a:gd name="connsiteY3" fmla="*/ 1150908 h 1150908"/>
              <a:gd name="connsiteX4" fmla="*/ 25879 w 4968814"/>
              <a:gd name="connsiteY4" fmla="*/ 77639 h 1150908"/>
              <a:gd name="connsiteX0" fmla="*/ 0 w 4977441"/>
              <a:gd name="connsiteY0" fmla="*/ 60387 h 1150908"/>
              <a:gd name="connsiteX1" fmla="*/ 4160205 w 4977441"/>
              <a:gd name="connsiteY1" fmla="*/ 0 h 1150908"/>
              <a:gd name="connsiteX2" fmla="*/ 4977441 w 4977441"/>
              <a:gd name="connsiteY2" fmla="*/ 1133655 h 1150908"/>
              <a:gd name="connsiteX3" fmla="*/ 8627 w 4977441"/>
              <a:gd name="connsiteY3" fmla="*/ 1150908 h 1150908"/>
              <a:gd name="connsiteX4" fmla="*/ 0 w 4977441"/>
              <a:gd name="connsiteY4" fmla="*/ 60387 h 1150908"/>
              <a:gd name="connsiteX0" fmla="*/ 0 w 4977441"/>
              <a:gd name="connsiteY0" fmla="*/ 172530 h 1150908"/>
              <a:gd name="connsiteX1" fmla="*/ 4160205 w 4977441"/>
              <a:gd name="connsiteY1" fmla="*/ 0 h 1150908"/>
              <a:gd name="connsiteX2" fmla="*/ 4977441 w 4977441"/>
              <a:gd name="connsiteY2" fmla="*/ 1133655 h 1150908"/>
              <a:gd name="connsiteX3" fmla="*/ 8627 w 4977441"/>
              <a:gd name="connsiteY3" fmla="*/ 1150908 h 1150908"/>
              <a:gd name="connsiteX4" fmla="*/ 0 w 4977441"/>
              <a:gd name="connsiteY4" fmla="*/ 172530 h 1150908"/>
              <a:gd name="connsiteX0" fmla="*/ 10122 w 4969172"/>
              <a:gd name="connsiteY0" fmla="*/ 189783 h 1150908"/>
              <a:gd name="connsiteX1" fmla="*/ 4151936 w 4969172"/>
              <a:gd name="connsiteY1" fmla="*/ 0 h 1150908"/>
              <a:gd name="connsiteX2" fmla="*/ 4969172 w 4969172"/>
              <a:gd name="connsiteY2" fmla="*/ 1133655 h 1150908"/>
              <a:gd name="connsiteX3" fmla="*/ 358 w 4969172"/>
              <a:gd name="connsiteY3" fmla="*/ 1150908 h 1150908"/>
              <a:gd name="connsiteX4" fmla="*/ 10122 w 4969172"/>
              <a:gd name="connsiteY4" fmla="*/ 189783 h 1150908"/>
              <a:gd name="connsiteX0" fmla="*/ 10122 w 4969172"/>
              <a:gd name="connsiteY0" fmla="*/ 172530 h 1150908"/>
              <a:gd name="connsiteX1" fmla="*/ 4151936 w 4969172"/>
              <a:gd name="connsiteY1" fmla="*/ 0 h 1150908"/>
              <a:gd name="connsiteX2" fmla="*/ 4969172 w 4969172"/>
              <a:gd name="connsiteY2" fmla="*/ 1133655 h 1150908"/>
              <a:gd name="connsiteX3" fmla="*/ 358 w 4969172"/>
              <a:gd name="connsiteY3" fmla="*/ 1150908 h 1150908"/>
              <a:gd name="connsiteX4" fmla="*/ 10122 w 4969172"/>
              <a:gd name="connsiteY4" fmla="*/ 172530 h 1150908"/>
              <a:gd name="connsiteX0" fmla="*/ 10122 w 4969172"/>
              <a:gd name="connsiteY0" fmla="*/ 138024 h 1150908"/>
              <a:gd name="connsiteX1" fmla="*/ 4151936 w 4969172"/>
              <a:gd name="connsiteY1" fmla="*/ 0 h 1150908"/>
              <a:gd name="connsiteX2" fmla="*/ 4969172 w 4969172"/>
              <a:gd name="connsiteY2" fmla="*/ 1133655 h 1150908"/>
              <a:gd name="connsiteX3" fmla="*/ 358 w 4969172"/>
              <a:gd name="connsiteY3" fmla="*/ 1150908 h 1150908"/>
              <a:gd name="connsiteX4" fmla="*/ 10122 w 4969172"/>
              <a:gd name="connsiteY4" fmla="*/ 138024 h 1150908"/>
              <a:gd name="connsiteX0" fmla="*/ 10122 w 4969172"/>
              <a:gd name="connsiteY0" fmla="*/ 198409 h 1211293"/>
              <a:gd name="connsiteX1" fmla="*/ 4151936 w 4969172"/>
              <a:gd name="connsiteY1" fmla="*/ 0 h 1211293"/>
              <a:gd name="connsiteX2" fmla="*/ 4969172 w 4969172"/>
              <a:gd name="connsiteY2" fmla="*/ 1194040 h 1211293"/>
              <a:gd name="connsiteX3" fmla="*/ 358 w 4969172"/>
              <a:gd name="connsiteY3" fmla="*/ 1211293 h 1211293"/>
              <a:gd name="connsiteX4" fmla="*/ 10122 w 4969172"/>
              <a:gd name="connsiteY4" fmla="*/ 198409 h 1211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69172" h="1211293">
                <a:moveTo>
                  <a:pt x="10122" y="198409"/>
                </a:moveTo>
                <a:lnTo>
                  <a:pt x="4151936" y="0"/>
                </a:lnTo>
                <a:lnTo>
                  <a:pt x="4969172" y="1194040"/>
                </a:lnTo>
                <a:lnTo>
                  <a:pt x="358" y="1211293"/>
                </a:lnTo>
                <a:cubicBezTo>
                  <a:pt x="-2518" y="847786"/>
                  <a:pt x="12998" y="561916"/>
                  <a:pt x="10122" y="198409"/>
                </a:cubicBez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E5A5CE11-3D33-4C2B-B93D-3BD65D14986C}"/>
              </a:ext>
            </a:extLst>
          </p:cNvPr>
          <p:cNvSpPr/>
          <p:nvPr userDrawn="1"/>
        </p:nvSpPr>
        <p:spPr>
          <a:xfrm>
            <a:off x="-6182" y="3899814"/>
            <a:ext cx="5728838" cy="345057"/>
          </a:xfrm>
          <a:custGeom>
            <a:avLst/>
            <a:gdLst>
              <a:gd name="connsiteX0" fmla="*/ 0 w 4873925"/>
              <a:gd name="connsiteY0" fmla="*/ 0 h 862641"/>
              <a:gd name="connsiteX1" fmla="*/ 4873925 w 4873925"/>
              <a:gd name="connsiteY1" fmla="*/ 0 h 862641"/>
              <a:gd name="connsiteX2" fmla="*/ 4873925 w 4873925"/>
              <a:gd name="connsiteY2" fmla="*/ 862641 h 862641"/>
              <a:gd name="connsiteX3" fmla="*/ 0 w 4873925"/>
              <a:gd name="connsiteY3" fmla="*/ 862641 h 862641"/>
              <a:gd name="connsiteX4" fmla="*/ 0 w 4873925"/>
              <a:gd name="connsiteY4" fmla="*/ 0 h 862641"/>
              <a:gd name="connsiteX0" fmla="*/ 0 w 5546785"/>
              <a:gd name="connsiteY0" fmla="*/ 0 h 862641"/>
              <a:gd name="connsiteX1" fmla="*/ 5546785 w 5546785"/>
              <a:gd name="connsiteY1" fmla="*/ 258792 h 862641"/>
              <a:gd name="connsiteX2" fmla="*/ 4873925 w 5546785"/>
              <a:gd name="connsiteY2" fmla="*/ 862641 h 862641"/>
              <a:gd name="connsiteX3" fmla="*/ 0 w 5546785"/>
              <a:gd name="connsiteY3" fmla="*/ 862641 h 862641"/>
              <a:gd name="connsiteX4" fmla="*/ 0 w 5546785"/>
              <a:gd name="connsiteY4" fmla="*/ 0 h 862641"/>
              <a:gd name="connsiteX0" fmla="*/ 0 w 5546785"/>
              <a:gd name="connsiteY0" fmla="*/ 0 h 862641"/>
              <a:gd name="connsiteX1" fmla="*/ 5546785 w 5546785"/>
              <a:gd name="connsiteY1" fmla="*/ 258792 h 862641"/>
              <a:gd name="connsiteX2" fmla="*/ 0 w 5546785"/>
              <a:gd name="connsiteY2" fmla="*/ 862641 h 862641"/>
              <a:gd name="connsiteX3" fmla="*/ 0 w 5546785"/>
              <a:gd name="connsiteY3" fmla="*/ 0 h 862641"/>
              <a:gd name="connsiteX0" fmla="*/ 8626 w 5555411"/>
              <a:gd name="connsiteY0" fmla="*/ 0 h 396815"/>
              <a:gd name="connsiteX1" fmla="*/ 5555411 w 5555411"/>
              <a:gd name="connsiteY1" fmla="*/ 258792 h 396815"/>
              <a:gd name="connsiteX2" fmla="*/ 0 w 5555411"/>
              <a:gd name="connsiteY2" fmla="*/ 396815 h 396815"/>
              <a:gd name="connsiteX3" fmla="*/ 8626 w 5555411"/>
              <a:gd name="connsiteY3" fmla="*/ 0 h 396815"/>
              <a:gd name="connsiteX0" fmla="*/ 8626 w 5555411"/>
              <a:gd name="connsiteY0" fmla="*/ 0 h 345057"/>
              <a:gd name="connsiteX1" fmla="*/ 5555411 w 5555411"/>
              <a:gd name="connsiteY1" fmla="*/ 258792 h 345057"/>
              <a:gd name="connsiteX2" fmla="*/ 0 w 5555411"/>
              <a:gd name="connsiteY2" fmla="*/ 345057 h 345057"/>
              <a:gd name="connsiteX3" fmla="*/ 8626 w 5555411"/>
              <a:gd name="connsiteY3" fmla="*/ 0 h 345057"/>
              <a:gd name="connsiteX0" fmla="*/ 8626 w 5727939"/>
              <a:gd name="connsiteY0" fmla="*/ 0 h 345057"/>
              <a:gd name="connsiteX1" fmla="*/ 5727939 w 5727939"/>
              <a:gd name="connsiteY1" fmla="*/ 267419 h 345057"/>
              <a:gd name="connsiteX2" fmla="*/ 0 w 5727939"/>
              <a:gd name="connsiteY2" fmla="*/ 345057 h 345057"/>
              <a:gd name="connsiteX3" fmla="*/ 8626 w 5727939"/>
              <a:gd name="connsiteY3" fmla="*/ 0 h 345057"/>
              <a:gd name="connsiteX0" fmla="*/ 8626 w 5727939"/>
              <a:gd name="connsiteY0" fmla="*/ 0 h 345057"/>
              <a:gd name="connsiteX1" fmla="*/ 5727939 w 5727939"/>
              <a:gd name="connsiteY1" fmla="*/ 232913 h 345057"/>
              <a:gd name="connsiteX2" fmla="*/ 0 w 5727939"/>
              <a:gd name="connsiteY2" fmla="*/ 345057 h 345057"/>
              <a:gd name="connsiteX3" fmla="*/ 8626 w 5727939"/>
              <a:gd name="connsiteY3" fmla="*/ 0 h 345057"/>
              <a:gd name="connsiteX0" fmla="*/ 0 w 5728838"/>
              <a:gd name="connsiteY0" fmla="*/ 0 h 345057"/>
              <a:gd name="connsiteX1" fmla="*/ 5728838 w 5728838"/>
              <a:gd name="connsiteY1" fmla="*/ 232913 h 345057"/>
              <a:gd name="connsiteX2" fmla="*/ 899 w 5728838"/>
              <a:gd name="connsiteY2" fmla="*/ 345057 h 345057"/>
              <a:gd name="connsiteX3" fmla="*/ 0 w 5728838"/>
              <a:gd name="connsiteY3" fmla="*/ 0 h 345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8838" h="345057">
                <a:moveTo>
                  <a:pt x="0" y="0"/>
                </a:moveTo>
                <a:lnTo>
                  <a:pt x="5728838" y="232913"/>
                </a:lnTo>
                <a:lnTo>
                  <a:pt x="899" y="345057"/>
                </a:lnTo>
                <a:cubicBezTo>
                  <a:pt x="599" y="230038"/>
                  <a:pt x="300" y="115019"/>
                  <a:pt x="0" y="0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xmlns="" id="{30A4AF25-9E73-4244-993F-5D73EAB294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5938" y="593725"/>
            <a:ext cx="3962623" cy="553998"/>
          </a:xfrm>
        </p:spPr>
        <p:txBody>
          <a:bodyPr vert="horz" wrap="none" lIns="0" tIns="0" rIns="0" bIns="0" rtlCol="0" anchor="b">
            <a:spAutoFit/>
          </a:bodyPr>
          <a:lstStyle>
            <a:lvl1pPr marL="0" marR="0" indent="0" algn="l" defTabSz="609493" rtl="0" eaLnBrk="1" fontAlgn="auto" latinLnBrk="0" hangingPunct="1">
              <a:lnSpc>
                <a:spcPct val="90000"/>
              </a:lnSpc>
              <a:spcBef>
                <a:spcPts val="480"/>
              </a:spcBef>
              <a:spcAft>
                <a:spcPts val="0"/>
              </a:spcAft>
              <a:buClr>
                <a:schemeClr val="accent1"/>
              </a:buClr>
              <a:buSzPct val="88000"/>
              <a:buFont typeface="Wingdings" panose="05000000000000000000" pitchFamily="2" charset="2"/>
              <a:buNone/>
              <a:tabLst/>
              <a:defRPr lang="de-DE" sz="4000" b="1" dirty="0" smtClean="0"/>
            </a:lvl1pPr>
            <a:lvl2pPr>
              <a:defRPr lang="de-DE" sz="2400" dirty="0" smtClean="0"/>
            </a:lvl2pPr>
            <a:lvl3pPr>
              <a:defRPr lang="de-DE" sz="2400" dirty="0" smtClean="0"/>
            </a:lvl3pPr>
            <a:lvl4pPr>
              <a:defRPr lang="de-DE" sz="2400" dirty="0" smtClean="0"/>
            </a:lvl4pPr>
            <a:lvl5pPr>
              <a:defRPr lang="de-DE" sz="2400" dirty="0"/>
            </a:lvl5pPr>
          </a:lstStyle>
          <a:p>
            <a:pPr marL="0" lvl="0" defTabSz="609493"/>
            <a:r>
              <a:rPr lang="en-US" noProof="0" dirty="0"/>
              <a:t>Click to add text</a:t>
            </a:r>
            <a:endParaRPr lang="en-US" dirty="0"/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xmlns="" id="{0397607F-F698-4EA1-98DA-BCA1BEE01EB4}"/>
              </a:ext>
            </a:extLst>
          </p:cNvPr>
          <p:cNvSpPr/>
          <p:nvPr userDrawn="1"/>
        </p:nvSpPr>
        <p:spPr>
          <a:xfrm>
            <a:off x="0" y="5106047"/>
            <a:ext cx="12192000" cy="122331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Textplatzhalter 16">
            <a:extLst>
              <a:ext uri="{FF2B5EF4-FFF2-40B4-BE49-F238E27FC236}">
                <a16:creationId xmlns:a16="http://schemas.microsoft.com/office/drawing/2014/main" xmlns="" id="{2883CE16-61C1-4C20-AF56-B5EAFD59F3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1433" y="4317298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de-DE" noProof="0" dirty="0"/>
              <a:t>Max Mustermann, M.Sc.</a:t>
            </a:r>
          </a:p>
        </p:txBody>
      </p:sp>
      <p:sp>
        <p:nvSpPr>
          <p:cNvPr id="49" name="Textplatzhalter 16">
            <a:extLst>
              <a:ext uri="{FF2B5EF4-FFF2-40B4-BE49-F238E27FC236}">
                <a16:creationId xmlns:a16="http://schemas.microsoft.com/office/drawing/2014/main" xmlns="" id="{37210E77-5D46-47B9-A8D9-6995F708D2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1433" y="4506186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noProof="0" dirty="0" smtClean="0"/>
              <a:t>Research </a:t>
            </a:r>
            <a:r>
              <a:rPr lang="en-US" noProof="0" dirty="0" smtClean="0"/>
              <a:t>Associate</a:t>
            </a:r>
            <a:endParaRPr lang="en-US" noProof="0" dirty="0"/>
          </a:p>
        </p:txBody>
      </p:sp>
      <p:sp>
        <p:nvSpPr>
          <p:cNvPr id="50" name="Textplatzhalter 16">
            <a:extLst>
              <a:ext uri="{FF2B5EF4-FFF2-40B4-BE49-F238E27FC236}">
                <a16:creationId xmlns:a16="http://schemas.microsoft.com/office/drawing/2014/main" xmlns="" id="{7F421743-674B-4F88-9970-230163471A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433" y="4695076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noProof="0"/>
              <a:t>Tel.: +49 1523 9501234</a:t>
            </a:r>
          </a:p>
        </p:txBody>
      </p:sp>
      <p:sp>
        <p:nvSpPr>
          <p:cNvPr id="52" name="Textplatzhalter 16">
            <a:extLst>
              <a:ext uri="{FF2B5EF4-FFF2-40B4-BE49-F238E27FC236}">
                <a16:creationId xmlns:a16="http://schemas.microsoft.com/office/drawing/2014/main" xmlns="" id="{C1FED5DF-4687-4F64-8640-E9719C723F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1433" y="4883963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marR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 sz="1100" b="0"/>
            </a:lvl1pPr>
          </a:lstStyle>
          <a:p>
            <a:pPr marL="0" marR="0" lvl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/>
            </a:pPr>
            <a:r>
              <a:rPr lang="de-DE" noProof="0"/>
              <a:t>E-Mail: max.mustermann@kit.edu</a:t>
            </a:r>
          </a:p>
        </p:txBody>
      </p:sp>
      <p:sp>
        <p:nvSpPr>
          <p:cNvPr id="53" name="Textplatzhalter 16">
            <a:extLst>
              <a:ext uri="{FF2B5EF4-FFF2-40B4-BE49-F238E27FC236}">
                <a16:creationId xmlns:a16="http://schemas.microsoft.com/office/drawing/2014/main" xmlns="" id="{8FE378A7-B7E3-4DC5-A3E3-1BFB9691B9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67313" y="4319569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de-DE" noProof="0"/>
              <a:t>Max Mustermann, M.Sc.</a:t>
            </a:r>
          </a:p>
        </p:txBody>
      </p:sp>
      <p:sp>
        <p:nvSpPr>
          <p:cNvPr id="54" name="Textplatzhalter 16">
            <a:extLst>
              <a:ext uri="{FF2B5EF4-FFF2-40B4-BE49-F238E27FC236}">
                <a16:creationId xmlns:a16="http://schemas.microsoft.com/office/drawing/2014/main" xmlns="" id="{4EA07B79-02BE-4344-A1E1-A46E2395EA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67313" y="4508459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noProof="0" dirty="0" smtClean="0"/>
              <a:t>Research </a:t>
            </a:r>
            <a:r>
              <a:rPr lang="en-US" noProof="0" dirty="0" smtClean="0"/>
              <a:t>Associate</a:t>
            </a:r>
            <a:endParaRPr lang="en-US" noProof="0" dirty="0"/>
          </a:p>
        </p:txBody>
      </p:sp>
      <p:sp>
        <p:nvSpPr>
          <p:cNvPr id="55" name="Textplatzhalter 16">
            <a:extLst>
              <a:ext uri="{FF2B5EF4-FFF2-40B4-BE49-F238E27FC236}">
                <a16:creationId xmlns:a16="http://schemas.microsoft.com/office/drawing/2014/main" xmlns="" id="{0ADB4CAF-27D0-4C33-95F3-95CE07084D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67313" y="4697347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noProof="0"/>
              <a:t>Tel.: +49 1523 9501234</a:t>
            </a:r>
          </a:p>
        </p:txBody>
      </p:sp>
      <p:sp>
        <p:nvSpPr>
          <p:cNvPr id="56" name="Textplatzhalter 16">
            <a:extLst>
              <a:ext uri="{FF2B5EF4-FFF2-40B4-BE49-F238E27FC236}">
                <a16:creationId xmlns:a16="http://schemas.microsoft.com/office/drawing/2014/main" xmlns="" id="{C0DD692F-5577-4A9C-98F2-AA357691A4B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67313" y="4886236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marR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 sz="1100" b="0"/>
            </a:lvl1pPr>
          </a:lstStyle>
          <a:p>
            <a:pPr marL="0" marR="0" lvl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/>
            </a:pPr>
            <a:r>
              <a:rPr lang="de-DE" noProof="0" dirty="0"/>
              <a:t>E-Mail: max.mustermann@kit.edu</a:t>
            </a:r>
          </a:p>
        </p:txBody>
      </p:sp>
      <p:sp>
        <p:nvSpPr>
          <p:cNvPr id="57" name="Textplatzhalter 16">
            <a:extLst>
              <a:ext uri="{FF2B5EF4-FFF2-40B4-BE49-F238E27FC236}">
                <a16:creationId xmlns:a16="http://schemas.microsoft.com/office/drawing/2014/main" xmlns="" id="{AB4F2E3F-FEDA-472A-A2E4-C983744854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13193" y="4320333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1"/>
            </a:lvl1pPr>
          </a:lstStyle>
          <a:p>
            <a:pPr lvl="0"/>
            <a:r>
              <a:rPr lang="de-DE" noProof="0" dirty="0"/>
              <a:t>Max Mustermann, M.Sc.</a:t>
            </a:r>
          </a:p>
        </p:txBody>
      </p:sp>
      <p:sp>
        <p:nvSpPr>
          <p:cNvPr id="58" name="Textplatzhalter 16">
            <a:extLst>
              <a:ext uri="{FF2B5EF4-FFF2-40B4-BE49-F238E27FC236}">
                <a16:creationId xmlns:a16="http://schemas.microsoft.com/office/drawing/2014/main" xmlns="" id="{88E3149D-98D4-4EA1-90D9-7A9225DDA96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313193" y="4509223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noProof="0" dirty="0" smtClean="0"/>
              <a:t>Research </a:t>
            </a:r>
            <a:r>
              <a:rPr lang="en-US" noProof="0" dirty="0" smtClean="0"/>
              <a:t>Associate</a:t>
            </a:r>
            <a:endParaRPr lang="en-US" noProof="0" dirty="0"/>
          </a:p>
        </p:txBody>
      </p:sp>
      <p:sp>
        <p:nvSpPr>
          <p:cNvPr id="59" name="Textplatzhalter 16">
            <a:extLst>
              <a:ext uri="{FF2B5EF4-FFF2-40B4-BE49-F238E27FC236}">
                <a16:creationId xmlns:a16="http://schemas.microsoft.com/office/drawing/2014/main" xmlns="" id="{7D3CB38E-5488-4840-9F59-FF7F89A106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13193" y="4698111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spcBef>
                <a:spcPts val="0"/>
              </a:spcBef>
              <a:buNone/>
              <a:defRPr sz="1100" b="0"/>
            </a:lvl1pPr>
          </a:lstStyle>
          <a:p>
            <a:pPr lvl="0"/>
            <a:r>
              <a:rPr lang="de-DE" noProof="0" dirty="0"/>
              <a:t>Tel.: +49 1523 9501234</a:t>
            </a:r>
          </a:p>
        </p:txBody>
      </p:sp>
      <p:sp>
        <p:nvSpPr>
          <p:cNvPr id="60" name="Textplatzhalter 16">
            <a:extLst>
              <a:ext uri="{FF2B5EF4-FFF2-40B4-BE49-F238E27FC236}">
                <a16:creationId xmlns:a16="http://schemas.microsoft.com/office/drawing/2014/main" xmlns="" id="{92EC9A69-2ADB-46C8-B120-37D08E004CE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313193" y="4887000"/>
            <a:ext cx="2149475" cy="144000"/>
          </a:xfrm>
          <a:prstGeom prst="rect">
            <a:avLst/>
          </a:prstGeom>
        </p:spPr>
        <p:txBody>
          <a:bodyPr tIns="0" bIns="0" anchor="ctr"/>
          <a:lstStyle>
            <a:lvl1pPr marL="0" marR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 sz="1100" b="0"/>
            </a:lvl1pPr>
          </a:lstStyle>
          <a:p>
            <a:pPr marL="0" marR="0" lvl="0" indent="0" algn="l" defTabSz="91410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88000"/>
              <a:buFont typeface="Wingdings" panose="05000000000000000000" pitchFamily="2" charset="2"/>
              <a:buNone/>
              <a:tabLst/>
              <a:defRPr/>
            </a:pPr>
            <a:r>
              <a:rPr lang="de-DE" noProof="0" dirty="0"/>
              <a:t>E-Mail: max.mustermann@kit.edu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xmlns="" id="{BF6184DA-008A-428D-8BAB-479835804270}"/>
              </a:ext>
            </a:extLst>
          </p:cNvPr>
          <p:cNvSpPr txBox="1"/>
          <p:nvPr userDrawn="1"/>
        </p:nvSpPr>
        <p:spPr>
          <a:xfrm>
            <a:off x="213644" y="5331354"/>
            <a:ext cx="2653669" cy="875968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/>
          <a:p>
            <a:pPr algn="l"/>
            <a:r>
              <a:rPr lang="en-US" sz="2000" b="1" dirty="0">
                <a:solidFill>
                  <a:schemeClr val="bg1"/>
                </a:solidFill>
              </a:rPr>
              <a:t>Thank you for your attention!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543925" y="4192069"/>
            <a:ext cx="3238500" cy="174590"/>
          </a:xfrm>
          <a:noFill/>
        </p:spPr>
        <p:txBody>
          <a:bodyPr vert="horz" wrap="square" anchor="t" anchorCtr="0">
            <a:noAutofit/>
          </a:bodyPr>
          <a:lstStyle>
            <a:lvl1pPr marL="0" marR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1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Institute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8543925" y="4353821"/>
            <a:ext cx="3238500" cy="174590"/>
          </a:xfrm>
          <a:noFill/>
        </p:spPr>
        <p:txBody>
          <a:bodyPr vert="horz" wrap="square" anchor="t" anchorCtr="0">
            <a:normAutofit/>
          </a:bodyPr>
          <a:lstStyle>
            <a:lvl1pPr marL="0" marR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treet</a:t>
            </a:r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8543925" y="4515573"/>
            <a:ext cx="3238500" cy="174590"/>
          </a:xfrm>
          <a:noFill/>
        </p:spPr>
        <p:txBody>
          <a:bodyPr vert="horz" wrap="square" anchor="t" anchorCtr="0">
            <a:normAutofit/>
          </a:bodyPr>
          <a:lstStyle>
            <a:lvl1pPr marL="0" marR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ity</a:t>
            </a:r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8543925" y="4677325"/>
            <a:ext cx="3238500" cy="174590"/>
          </a:xfrm>
          <a:noFill/>
        </p:spPr>
        <p:txBody>
          <a:bodyPr vert="horz" wrap="square" anchor="t" anchorCtr="0">
            <a:normAutofit/>
          </a:bodyPr>
          <a:lstStyle>
            <a:lvl1pPr marL="0" marR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ountry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8543925" y="4839076"/>
            <a:ext cx="3238500" cy="174590"/>
          </a:xfrm>
          <a:noFill/>
        </p:spPr>
        <p:txBody>
          <a:bodyPr vert="horz" wrap="square" anchor="t" anchorCtr="0">
            <a:normAutofit/>
          </a:bodyPr>
          <a:lstStyle>
            <a:lvl1pPr marL="0" marR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r" defTabSz="6094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Website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xmlns="" id="{7E0346E8-32FC-408D-ABCF-E1C9DC6E6802}"/>
              </a:ext>
            </a:extLst>
          </p:cNvPr>
          <p:cNvSpPr txBox="1"/>
          <p:nvPr userDrawn="1"/>
        </p:nvSpPr>
        <p:spPr>
          <a:xfrm>
            <a:off x="10460736" y="5993125"/>
            <a:ext cx="1731264" cy="336239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/>
          <a:p>
            <a:pPr algn="l"/>
            <a:r>
              <a:rPr lang="de-DE" sz="1400" b="1" i="1" dirty="0" smtClean="0">
                <a:solidFill>
                  <a:schemeClr val="bg1"/>
                </a:solidFill>
              </a:rPr>
              <a:t>www.cats2024.eu/</a:t>
            </a:r>
            <a:endParaRPr lang="de-DE" sz="14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867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79368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Folie" r:id="rId10" imgW="384" imgH="385" progId="TCLayout.ActiveDocument.1">
                  <p:embed/>
                </p:oleObj>
              </mc:Choice>
              <mc:Fallback>
                <p:oleObj name="think-cell Folie" r:id="rId10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Gerade Verbindung 11"/>
          <p:cNvCxnSpPr/>
          <p:nvPr userDrawn="1"/>
        </p:nvCxnSpPr>
        <p:spPr>
          <a:xfrm>
            <a:off x="143930" y="6319881"/>
            <a:ext cx="11904143" cy="993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KIT Logo">
            <a:extLst>
              <a:ext uri="{FF2B5EF4-FFF2-40B4-BE49-F238E27FC236}">
                <a16:creationId xmlns:a16="http://schemas.microsoft.com/office/drawing/2014/main" xmlns="" id="{763FF40C-F87B-4588-847A-65E2C38A8336}"/>
              </a:ext>
            </a:extLst>
          </p:cNvPr>
          <p:cNvPicPr>
            <a:picLocks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2632" y="6392173"/>
            <a:ext cx="851471" cy="392431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xmlns="" id="{D8BFCA3C-8C8A-400B-A06A-92F8FB105B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268413"/>
            <a:ext cx="11160125" cy="48244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altLang="de-DE" noProof="0" dirty="0"/>
              <a:t>Click to add text</a:t>
            </a:r>
          </a:p>
          <a:p>
            <a:pPr lvl="1"/>
            <a:r>
              <a:rPr lang="en-US" altLang="de-DE" noProof="0" dirty="0"/>
              <a:t>Second level</a:t>
            </a:r>
          </a:p>
          <a:p>
            <a:pPr lvl="2"/>
            <a:r>
              <a:rPr lang="en-US" altLang="de-DE" noProof="0" dirty="0"/>
              <a:t>Third level </a:t>
            </a:r>
          </a:p>
          <a:p>
            <a:pPr lvl="3"/>
            <a:r>
              <a:rPr lang="en-US" altLang="de-DE" noProof="0" dirty="0"/>
              <a:t>Fourth level</a:t>
            </a:r>
          </a:p>
          <a:p>
            <a:pPr lvl="4"/>
            <a:r>
              <a:rPr lang="en-US" altLang="de-DE" noProof="0" dirty="0"/>
              <a:t>Fifth level</a:t>
            </a:r>
          </a:p>
        </p:txBody>
      </p:sp>
      <p:sp>
        <p:nvSpPr>
          <p:cNvPr id="19" name="Titelplatzhalter 1">
            <a:extLst>
              <a:ext uri="{FF2B5EF4-FFF2-40B4-BE49-F238E27FC236}">
                <a16:creationId xmlns:a16="http://schemas.microsoft.com/office/drawing/2014/main" xmlns="" id="{E881C03F-48E9-41EF-95A1-EA0E9D76B9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58319"/>
            <a:ext cx="9170966" cy="38349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add title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xmlns="" id="{554453D1-86C7-4689-95CC-CABEF08AB015}"/>
              </a:ext>
            </a:extLst>
          </p:cNvPr>
          <p:cNvGrpSpPr/>
          <p:nvPr userDrawn="1"/>
        </p:nvGrpSpPr>
        <p:grpSpPr>
          <a:xfrm>
            <a:off x="10033610" y="6392173"/>
            <a:ext cx="2505830" cy="436036"/>
            <a:chOff x="5813151" y="4470715"/>
            <a:chExt cx="2259773" cy="393220"/>
          </a:xfrm>
        </p:grpSpPr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xmlns="" id="{37279930-36CD-4D67-80CD-3C6BEC3DAD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tretch>
              <a:fillRect/>
            </a:stretch>
          </p:blipFill>
          <p:spPr>
            <a:xfrm>
              <a:off x="5813151" y="4505325"/>
              <a:ext cx="681288" cy="324000"/>
            </a:xfrm>
            <a:prstGeom prst="rect">
              <a:avLst/>
            </a:prstGeom>
          </p:spPr>
        </p:pic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xmlns="" id="{3D0C0C37-C14D-4246-B9D1-3128F649A766}"/>
                </a:ext>
              </a:extLst>
            </p:cNvPr>
            <p:cNvSpPr txBox="1"/>
            <p:nvPr userDrawn="1"/>
          </p:nvSpPr>
          <p:spPr>
            <a:xfrm>
              <a:off x="6542065" y="4470715"/>
              <a:ext cx="1530859" cy="39322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rmAutofit/>
            </a:bodyPr>
            <a:lstStyle/>
            <a:p>
              <a:pPr lvl="0">
                <a:lnSpc>
                  <a:spcPts val="840"/>
                </a:lnSpc>
                <a:spcBef>
                  <a:spcPts val="0"/>
                </a:spcBef>
              </a:pPr>
              <a:r>
                <a:rPr lang="de-DE" sz="750" spc="20" baseline="0" dirty="0">
                  <a:solidFill>
                    <a:srgbClr val="000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Institute of </a:t>
              </a:r>
            </a:p>
            <a:p>
              <a:pPr lvl="0">
                <a:lnSpc>
                  <a:spcPts val="840"/>
                </a:lnSpc>
                <a:spcBef>
                  <a:spcPts val="0"/>
                </a:spcBef>
              </a:pPr>
              <a:r>
                <a:rPr lang="de-DE" sz="750" spc="20" baseline="0" dirty="0">
                  <a:solidFill>
                    <a:srgbClr val="000000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Production Science</a:t>
              </a:r>
            </a:p>
          </p:txBody>
        </p:sp>
      </p:grpSp>
      <p:grpSp>
        <p:nvGrpSpPr>
          <p:cNvPr id="18" name="Gruppieren 17"/>
          <p:cNvGrpSpPr/>
          <p:nvPr userDrawn="1"/>
        </p:nvGrpSpPr>
        <p:grpSpPr>
          <a:xfrm>
            <a:off x="5876544" y="6366387"/>
            <a:ext cx="3035808" cy="456367"/>
            <a:chOff x="0" y="336430"/>
            <a:chExt cx="7345142" cy="1104181"/>
          </a:xfrm>
        </p:grpSpPr>
        <p:sp>
          <p:nvSpPr>
            <p:cNvPr id="23" name="Rechteck 22"/>
            <p:cNvSpPr/>
            <p:nvPr userDrawn="1"/>
          </p:nvSpPr>
          <p:spPr>
            <a:xfrm>
              <a:off x="0" y="336430"/>
              <a:ext cx="7345142" cy="1104181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4" name="Grafik 23"/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938" y="578701"/>
              <a:ext cx="6518085" cy="591974"/>
            </a:xfrm>
            <a:prstGeom prst="rect">
              <a:avLst/>
            </a:prstGeom>
          </p:spPr>
        </p:pic>
      </p:grpSp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18"/>
          <a:srcRect t="4885" r="6140" b="7478"/>
          <a:stretch/>
        </p:blipFill>
        <p:spPr>
          <a:xfrm>
            <a:off x="10248182" y="0"/>
            <a:ext cx="1423358" cy="1250830"/>
          </a:xfrm>
          <a:prstGeom prst="rect">
            <a:avLst/>
          </a:prstGeom>
        </p:spPr>
      </p:pic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>
          <a:xfrm>
            <a:off x="964224" y="6319881"/>
            <a:ext cx="2617176" cy="5381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24.04.2024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515938" y="6329812"/>
            <a:ext cx="448286" cy="528188"/>
          </a:xfrm>
          <a:prstGeom prst="rect">
            <a:avLst/>
          </a:prstGeom>
        </p:spPr>
        <p:txBody>
          <a:bodyPr vert="horz" lIns="36000" tIns="45720" rIns="3600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E79F7477-48E1-4941-8087-E18B8D2FE95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4210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7" r:id="rId3"/>
    <p:sldLayoutId id="2147483748" r:id="rId4"/>
    <p:sldLayoutId id="2147483770" r:id="rId5"/>
    <p:sldLayoutId id="2147483771" r:id="rId6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347" rtl="0" eaLnBrk="1" latinLnBrk="0" hangingPunct="1">
        <a:lnSpc>
          <a:spcPct val="100000"/>
        </a:lnSpc>
        <a:spcBef>
          <a:spcPct val="0"/>
        </a:spcBef>
        <a:spcAft>
          <a:spcPts val="1200"/>
        </a:spcAft>
        <a:buNone/>
        <a:defRPr lang="en-US" altLang="de-DE" sz="2400" b="1" kern="1200" baseline="0" noProof="0" smtClean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71448" indent="-271448" algn="l" defTabSz="914347" rtl="0" eaLnBrk="1" latinLnBrk="0" hangingPunct="1">
        <a:lnSpc>
          <a:spcPct val="90000"/>
        </a:lnSpc>
        <a:spcBef>
          <a:spcPts val="480"/>
        </a:spcBef>
        <a:buClr>
          <a:schemeClr val="accent1"/>
        </a:buClr>
        <a:buSzPct val="88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27027" indent="-271448" algn="l" defTabSz="914347" rtl="0" eaLnBrk="1" latinLnBrk="0" hangingPunct="1">
        <a:lnSpc>
          <a:spcPct val="90000"/>
        </a:lnSpc>
        <a:spcBef>
          <a:spcPts val="480"/>
        </a:spcBef>
        <a:buClr>
          <a:schemeClr val="accent1"/>
        </a:buClr>
        <a:buSzPct val="88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82606" indent="-265098" algn="l" defTabSz="898472" rtl="0" eaLnBrk="1" latinLnBrk="0" hangingPunct="1">
        <a:lnSpc>
          <a:spcPct val="90000"/>
        </a:lnSpc>
        <a:spcBef>
          <a:spcPts val="480"/>
        </a:spcBef>
        <a:buClr>
          <a:schemeClr val="accent1"/>
        </a:buClr>
        <a:buSzPct val="88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535" indent="-271448" algn="l" defTabSz="914347" rtl="0" eaLnBrk="1" latinLnBrk="0" hangingPunct="1">
        <a:lnSpc>
          <a:spcPct val="90000"/>
        </a:lnSpc>
        <a:spcBef>
          <a:spcPts val="480"/>
        </a:spcBef>
        <a:buClr>
          <a:schemeClr val="accent1"/>
        </a:buClr>
        <a:buSzPct val="88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00114" indent="-265098" algn="l" defTabSz="914347" rtl="0" eaLnBrk="1" latinLnBrk="0" hangingPunct="1">
        <a:lnSpc>
          <a:spcPct val="90000"/>
        </a:lnSpc>
        <a:spcBef>
          <a:spcPts val="480"/>
        </a:spcBef>
        <a:buClr>
          <a:schemeClr val="accent1"/>
        </a:buClr>
        <a:buSzPct val="88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3" indent="-228587" algn="l" defTabSz="91434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6" indent="-228587" algn="l" defTabSz="91434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0" indent="-228587" algn="l" defTabSz="91434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3" indent="-228587" algn="l" defTabSz="91434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73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47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3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6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0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7" algn="l" defTabSz="914347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orient="horz" pos="640" userDrawn="1">
          <p15:clr>
            <a:srgbClr val="F26B43"/>
          </p15:clr>
        </p15:guide>
        <p15:guide id="3" pos="325" userDrawn="1">
          <p15:clr>
            <a:srgbClr val="F26B43"/>
          </p15:clr>
        </p15:guide>
        <p15:guide id="4" orient="horz" pos="3838" userDrawn="1">
          <p15:clr>
            <a:srgbClr val="F26B43"/>
          </p15:clr>
        </p15:guide>
        <p15:guide id="5" pos="735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bwsyncandshare.kit.edu/s/99enycPtY46nAyd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xmlns="" id="{13B7FA28-9B40-4629-AC1E-692233A922A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026507FF-3776-42DE-93FA-3F6B7AB8BDB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FC685021-918F-4917-AA63-AF25C4B1AC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4531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237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7CD9CE09-EC36-44AE-A979-A55D9698A0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A slot of 20 minutes is planned for each paper </a:t>
            </a:r>
          </a:p>
          <a:p>
            <a:pPr lvl="1"/>
            <a:r>
              <a:rPr lang="en-US" smtClean="0"/>
              <a:t>15 minutes presentation</a:t>
            </a:r>
          </a:p>
          <a:p>
            <a:pPr lvl="1"/>
            <a:r>
              <a:rPr lang="en-US" smtClean="0"/>
              <a:t>5 minutes for questions and discussion </a:t>
            </a:r>
          </a:p>
          <a:p>
            <a:pPr lvl="1"/>
            <a:endParaRPr lang="en-US" smtClean="0"/>
          </a:p>
          <a:p>
            <a:r>
              <a:rPr lang="en-US" smtClean="0"/>
              <a:t>The presentation must be submitted before the conference -  </a:t>
            </a:r>
            <a:br>
              <a:rPr lang="en-US" smtClean="0"/>
            </a:br>
            <a:r>
              <a:rPr lang="en-US" smtClean="0"/>
              <a:t>(name the file after your Manuscript Number: PROCIR-D-23-XXXXX) </a:t>
            </a:r>
          </a:p>
          <a:p>
            <a:pPr lvl="1"/>
            <a:r>
              <a:rPr lang="en-US" smtClean="0"/>
              <a:t>Upload-Link: </a:t>
            </a:r>
            <a:r>
              <a:rPr lang="de-DE" smtClean="0">
                <a:hlinkClick r:id="rId7"/>
              </a:rPr>
              <a:t>https://bwsyncandshare.kit.edu/s/99enycPtY46nAyd</a:t>
            </a:r>
            <a:endParaRPr lang="en-US" smtClean="0"/>
          </a:p>
          <a:p>
            <a:pPr lvl="1"/>
            <a:r>
              <a:rPr lang="en-US" smtClean="0"/>
              <a:t>Deadline for Upload: 19.04.2024 </a:t>
            </a:r>
          </a:p>
          <a:p>
            <a:pPr lvl="1"/>
            <a:endParaRPr lang="en-US" smtClean="0"/>
          </a:p>
          <a:p>
            <a:r>
              <a:rPr lang="en-US" smtClean="0"/>
              <a:t>For the presentation either the template provided or your own template can be used.</a:t>
            </a:r>
            <a:endParaRPr lang="en-US" dirty="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EE9F93AC-C055-4BD8-A8C0-956F02101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mtClean="0"/>
              <a:t>Information for the presentation</a:t>
            </a:r>
            <a:endParaRPr lang="de-DE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24.04.2024</a:t>
            </a:r>
            <a:endParaRPr lang="de-DE" dirty="0"/>
          </a:p>
        </p:txBody>
      </p:sp>
      <p:sp>
        <p:nvSpPr>
          <p:cNvPr id="34" name="Foliennummernplatzhalter 3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79F7477-48E1-4941-8087-E18B8D2FE95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7047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350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24.04.2024</a:t>
            </a:r>
            <a:endParaRPr 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79F7477-48E1-4941-8087-E18B8D2FE95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83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>
            <a:extLst>
              <a:ext uri="{FF2B5EF4-FFF2-40B4-BE49-F238E27FC236}">
                <a16:creationId xmlns:a16="http://schemas.microsoft.com/office/drawing/2014/main" xmlns="" id="{E84D9115-9E87-4F6D-AD4B-0500FF5C0F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xmlns="" id="{89026734-E27F-4D8C-95D1-1F6D884397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xmlns="" id="{D3610DE3-3C4A-49B3-9BAA-1E8E4DFAA01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xmlns="" id="{A22106B3-67EE-4A3E-AE00-E56507E27C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xmlns="" id="{048D759A-D2B1-440C-A441-FD1AA6CA28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24.04.2024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79F7477-48E1-4941-8087-E18B8D2FE954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3577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892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9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1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2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3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4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5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159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IRP_CATS_2024_wbk">
  <a:themeElements>
    <a:clrScheme name="Benutzerdefiniert 1">
      <a:dk1>
        <a:srgbClr val="2C333E"/>
      </a:dk1>
      <a:lt1>
        <a:srgbClr val="FFFFFF"/>
      </a:lt1>
      <a:dk2>
        <a:srgbClr val="C4D0CF"/>
      </a:dk2>
      <a:lt2>
        <a:srgbClr val="D9D9D9"/>
      </a:lt2>
      <a:accent1>
        <a:srgbClr val="009682"/>
      </a:accent1>
      <a:accent2>
        <a:srgbClr val="546E7A"/>
      </a:accent2>
      <a:accent3>
        <a:srgbClr val="144466"/>
      </a:accent3>
      <a:accent4>
        <a:srgbClr val="00838F"/>
      </a:accent4>
      <a:accent5>
        <a:srgbClr val="EEB70D"/>
      </a:accent5>
      <a:accent6>
        <a:srgbClr val="B2372C"/>
      </a:accent6>
      <a:hlink>
        <a:srgbClr val="009682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 anchor="ctr">
        <a:noAutofit/>
      </a:bodyPr>
      <a:lstStyle>
        <a:defPPr algn="r" defTabSz="609402">
          <a:defRPr sz="1100" noProof="0" dirty="0" smtClean="0">
            <a:solidFill>
              <a:prstClr val="white"/>
            </a:solidFill>
            <a:ea typeface="Raleway Medium" charset="0"/>
            <a:cs typeface="Raleway Medium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8D28DADB-0D42-4FA0-867E-A2789E982B4C}" vid="{43810FB3-818D-4224-B300-116ADAB0005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master_EN</Template>
  <TotalTime>0</TotalTime>
  <Words>40</Words>
  <Application>Microsoft Office PowerPoint</Application>
  <PresentationFormat>Breitbild</PresentationFormat>
  <Paragraphs>18</Paragraphs>
  <Slides>5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2" baseType="lpstr">
      <vt:lpstr>Arial</vt:lpstr>
      <vt:lpstr>Calibri</vt:lpstr>
      <vt:lpstr>Segoe UI Semibold</vt:lpstr>
      <vt:lpstr>Tahoma</vt:lpstr>
      <vt:lpstr>Wingdings</vt:lpstr>
      <vt:lpstr>CIRP_CATS_2024_wbk</vt:lpstr>
      <vt:lpstr>think-cell Folie</vt:lpstr>
      <vt:lpstr>PowerPoint-Präsentation</vt:lpstr>
      <vt:lpstr>Information for the presentation</vt:lpstr>
      <vt:lpstr>PowerPoint-Präsentation</vt:lpstr>
      <vt:lpstr>PowerPoint-Präsentation</vt:lpstr>
      <vt:lpstr>PowerPoint-Präsentation</vt:lpstr>
    </vt:vector>
  </TitlesOfParts>
  <Company>wb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nk, Florian (wbk)</dc:creator>
  <cp:lastModifiedBy>Denk, Florian (wbk)</cp:lastModifiedBy>
  <cp:revision>13</cp:revision>
  <cp:lastPrinted>1999-12-31T23:00:00Z</cp:lastPrinted>
  <dcterms:created xsi:type="dcterms:W3CDTF">2024-02-28T08:16:00Z</dcterms:created>
  <dcterms:modified xsi:type="dcterms:W3CDTF">2024-03-21T08:05:14Z</dcterms:modified>
</cp:coreProperties>
</file>